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notesSlides/notesSlide1.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2.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3.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7.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8.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9.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0.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11.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2.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5" r:id="rId2"/>
  </p:sldMasterIdLst>
  <p:notesMasterIdLst>
    <p:notesMasterId r:id="rId20"/>
  </p:notesMasterIdLst>
  <p:handoutMasterIdLst>
    <p:handoutMasterId r:id="rId21"/>
  </p:handoutMasterIdLst>
  <p:sldIdLst>
    <p:sldId id="279" r:id="rId3"/>
    <p:sldId id="257" r:id="rId4"/>
    <p:sldId id="284" r:id="rId5"/>
    <p:sldId id="263" r:id="rId6"/>
    <p:sldId id="264" r:id="rId7"/>
    <p:sldId id="271" r:id="rId8"/>
    <p:sldId id="283" r:id="rId9"/>
    <p:sldId id="265" r:id="rId10"/>
    <p:sldId id="270" r:id="rId11"/>
    <p:sldId id="282" r:id="rId12"/>
    <p:sldId id="273" r:id="rId13"/>
    <p:sldId id="274" r:id="rId14"/>
    <p:sldId id="275" r:id="rId15"/>
    <p:sldId id="276" r:id="rId16"/>
    <p:sldId id="277" r:id="rId17"/>
    <p:sldId id="261" r:id="rId18"/>
    <p:sldId id="260" r:id="rId19"/>
  </p:sldIdLst>
  <p:sldSz cx="12192000" cy="6858000"/>
  <p:notesSz cx="6950075" cy="9236075"/>
  <p:custShowLst>
    <p:custShow name="Format Guide Workshop"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1" autoAdjust="0"/>
    <p:restoredTop sz="94095" autoAdjust="0"/>
  </p:normalViewPr>
  <p:slideViewPr>
    <p:cSldViewPr snapToGrid="0">
      <p:cViewPr varScale="1">
        <p:scale>
          <a:sx n="62" d="100"/>
          <a:sy n="62" d="100"/>
        </p:scale>
        <p:origin x="64" y="1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66983938132065E-2"/>
          <c:y val="2.6707755521314845E-2"/>
          <c:w val="0.96906603212373588"/>
          <c:h val="0.94658448895737035"/>
        </c:manualLayout>
      </c:layout>
      <c:areaChart>
        <c:grouping val="stacked"/>
        <c:varyColors val="0"/>
        <c:ser>
          <c:idx val="0"/>
          <c:order val="0"/>
          <c:spPr>
            <a:solidFill>
              <a:srgbClr val="D9D9D9"/>
            </a:solidFill>
            <a:ln>
              <a:noFill/>
            </a:ln>
          </c:spPr>
          <c:val>
            <c:numRef>
              <c:f>Sheet1!$A$1:$AM$1</c:f>
              <c:numCache>
                <c:formatCode>General</c:formatCode>
                <c:ptCount val="39"/>
                <c:pt idx="0">
                  <c:v>5090</c:v>
                </c:pt>
                <c:pt idx="1">
                  <c:v>2641</c:v>
                </c:pt>
                <c:pt idx="2">
                  <c:v>2009</c:v>
                </c:pt>
                <c:pt idx="3">
                  <c:v>2048</c:v>
                </c:pt>
                <c:pt idx="4">
                  <c:v>1886</c:v>
                </c:pt>
                <c:pt idx="5">
                  <c:v>1749</c:v>
                </c:pt>
                <c:pt idx="6">
                  <c:v>394</c:v>
                </c:pt>
                <c:pt idx="7">
                  <c:v>889</c:v>
                </c:pt>
                <c:pt idx="8">
                  <c:v>397</c:v>
                </c:pt>
                <c:pt idx="9">
                  <c:v>648</c:v>
                </c:pt>
                <c:pt idx="10">
                  <c:v>409</c:v>
                </c:pt>
                <c:pt idx="11">
                  <c:v>508</c:v>
                </c:pt>
                <c:pt idx="12">
                  <c:v>406</c:v>
                </c:pt>
                <c:pt idx="13">
                  <c:v>433</c:v>
                </c:pt>
                <c:pt idx="14">
                  <c:v>327</c:v>
                </c:pt>
                <c:pt idx="15">
                  <c:v>427</c:v>
                </c:pt>
                <c:pt idx="16">
                  <c:v>573</c:v>
                </c:pt>
                <c:pt idx="17">
                  <c:v>202</c:v>
                </c:pt>
                <c:pt idx="18">
                  <c:v>125</c:v>
                </c:pt>
                <c:pt idx="19">
                  <c:v>119</c:v>
                </c:pt>
                <c:pt idx="20">
                  <c:v>139</c:v>
                </c:pt>
                <c:pt idx="21">
                  <c:v>143</c:v>
                </c:pt>
                <c:pt idx="22">
                  <c:v>99</c:v>
                </c:pt>
                <c:pt idx="23">
                  <c:v>44</c:v>
                </c:pt>
                <c:pt idx="24">
                  <c:v>40</c:v>
                </c:pt>
                <c:pt idx="25">
                  <c:v>37</c:v>
                </c:pt>
                <c:pt idx="26">
                  <c:v>29</c:v>
                </c:pt>
                <c:pt idx="27">
                  <c:v>35</c:v>
                </c:pt>
                <c:pt idx="28">
                  <c:v>12</c:v>
                </c:pt>
                <c:pt idx="29">
                  <c:v>14</c:v>
                </c:pt>
                <c:pt idx="30">
                  <c:v>35</c:v>
                </c:pt>
                <c:pt idx="31">
                  <c:v>32</c:v>
                </c:pt>
                <c:pt idx="32">
                  <c:v>38</c:v>
                </c:pt>
                <c:pt idx="33">
                  <c:v>35</c:v>
                </c:pt>
                <c:pt idx="34">
                  <c:v>67</c:v>
                </c:pt>
                <c:pt idx="35">
                  <c:v>62</c:v>
                </c:pt>
                <c:pt idx="36">
                  <c:v>121</c:v>
                </c:pt>
                <c:pt idx="37">
                  <c:v>73</c:v>
                </c:pt>
                <c:pt idx="38">
                  <c:v>108</c:v>
                </c:pt>
              </c:numCache>
            </c:numRef>
          </c:val>
          <c:extLst xmlns:c16r2="http://schemas.microsoft.com/office/drawing/2015/06/chart">
            <c:ext xmlns:c16="http://schemas.microsoft.com/office/drawing/2014/chart" uri="{C3380CC4-5D6E-409C-BE32-E72D297353CC}">
              <c16:uniqueId val="{00000000-AFFB-46BA-9CDE-97A45EE7D149}"/>
            </c:ext>
          </c:extLst>
        </c:ser>
        <c:ser>
          <c:idx val="1"/>
          <c:order val="1"/>
          <c:spPr>
            <a:solidFill>
              <a:srgbClr val="7F7F7F"/>
            </a:solidFill>
            <a:ln>
              <a:noFill/>
            </a:ln>
          </c:spPr>
          <c:val>
            <c:numRef>
              <c:f>Sheet1!$A$2:$AM$2</c:f>
              <c:numCache>
                <c:formatCode>General</c:formatCode>
                <c:ptCount val="39"/>
                <c:pt idx="0">
                  <c:v>10</c:v>
                </c:pt>
                <c:pt idx="1">
                  <c:v>54</c:v>
                </c:pt>
                <c:pt idx="2">
                  <c:v>89</c:v>
                </c:pt>
                <c:pt idx="3">
                  <c:v>91</c:v>
                </c:pt>
                <c:pt idx="4">
                  <c:v>110</c:v>
                </c:pt>
                <c:pt idx="5">
                  <c:v>100</c:v>
                </c:pt>
                <c:pt idx="6">
                  <c:v>92</c:v>
                </c:pt>
                <c:pt idx="7">
                  <c:v>23</c:v>
                </c:pt>
                <c:pt idx="8">
                  <c:v>19</c:v>
                </c:pt>
                <c:pt idx="9">
                  <c:v>24</c:v>
                </c:pt>
                <c:pt idx="10">
                  <c:v>86</c:v>
                </c:pt>
                <c:pt idx="11">
                  <c:v>23</c:v>
                </c:pt>
                <c:pt idx="12">
                  <c:v>53</c:v>
                </c:pt>
                <c:pt idx="13">
                  <c:v>83</c:v>
                </c:pt>
                <c:pt idx="14">
                  <c:v>70</c:v>
                </c:pt>
                <c:pt idx="15">
                  <c:v>49</c:v>
                </c:pt>
                <c:pt idx="16">
                  <c:v>105</c:v>
                </c:pt>
                <c:pt idx="17">
                  <c:v>118</c:v>
                </c:pt>
                <c:pt idx="18">
                  <c:v>118</c:v>
                </c:pt>
                <c:pt idx="19">
                  <c:v>141</c:v>
                </c:pt>
                <c:pt idx="20">
                  <c:v>309</c:v>
                </c:pt>
                <c:pt idx="21">
                  <c:v>365</c:v>
                </c:pt>
                <c:pt idx="22">
                  <c:v>581</c:v>
                </c:pt>
                <c:pt idx="23">
                  <c:v>516</c:v>
                </c:pt>
                <c:pt idx="24">
                  <c:v>706</c:v>
                </c:pt>
                <c:pt idx="25">
                  <c:v>489</c:v>
                </c:pt>
                <c:pt idx="26">
                  <c:v>1255</c:v>
                </c:pt>
                <c:pt idx="27">
                  <c:v>1872</c:v>
                </c:pt>
                <c:pt idx="28">
                  <c:v>725</c:v>
                </c:pt>
                <c:pt idx="29">
                  <c:v>3783</c:v>
                </c:pt>
                <c:pt idx="30">
                  <c:v>2471</c:v>
                </c:pt>
                <c:pt idx="31">
                  <c:v>3019</c:v>
                </c:pt>
                <c:pt idx="32">
                  <c:v>2779</c:v>
                </c:pt>
                <c:pt idx="33">
                  <c:v>4177</c:v>
                </c:pt>
                <c:pt idx="34">
                  <c:v>4204</c:v>
                </c:pt>
                <c:pt idx="35">
                  <c:v>6426</c:v>
                </c:pt>
                <c:pt idx="36">
                  <c:v>7840</c:v>
                </c:pt>
                <c:pt idx="37">
                  <c:v>9178</c:v>
                </c:pt>
                <c:pt idx="38">
                  <c:v>9050</c:v>
                </c:pt>
              </c:numCache>
            </c:numRef>
          </c:val>
          <c:extLst xmlns:c16r2="http://schemas.microsoft.com/office/drawing/2015/06/chart">
            <c:ext xmlns:c16="http://schemas.microsoft.com/office/drawing/2014/chart" uri="{C3380CC4-5D6E-409C-BE32-E72D297353CC}">
              <c16:uniqueId val="{00000001-AFFB-46BA-9CDE-97A45EE7D149}"/>
            </c:ext>
          </c:extLst>
        </c:ser>
        <c:ser>
          <c:idx val="2"/>
          <c:order val="2"/>
          <c:spPr>
            <a:solidFill>
              <a:srgbClr val="E71C57"/>
            </a:solidFill>
            <a:ln>
              <a:noFill/>
            </a:ln>
          </c:spPr>
          <c:val>
            <c:numRef>
              <c:f>Sheet1!$A$3:$AM$3</c:f>
              <c:numCache>
                <c:formatCode>General</c:formatCode>
                <c:ptCount val="39"/>
                <c:pt idx="0">
                  <c:v>1</c:v>
                </c:pt>
                <c:pt idx="1">
                  <c:v>0</c:v>
                </c:pt>
                <c:pt idx="2">
                  <c:v>0</c:v>
                </c:pt>
                <c:pt idx="3">
                  <c:v>0</c:v>
                </c:pt>
                <c:pt idx="4">
                  <c:v>0</c:v>
                </c:pt>
                <c:pt idx="5">
                  <c:v>0</c:v>
                </c:pt>
                <c:pt idx="6">
                  <c:v>0</c:v>
                </c:pt>
                <c:pt idx="7">
                  <c:v>0</c:v>
                </c:pt>
                <c:pt idx="8">
                  <c:v>2</c:v>
                </c:pt>
                <c:pt idx="9">
                  <c:v>0</c:v>
                </c:pt>
                <c:pt idx="10">
                  <c:v>0</c:v>
                </c:pt>
                <c:pt idx="11">
                  <c:v>36</c:v>
                </c:pt>
                <c:pt idx="12">
                  <c:v>0</c:v>
                </c:pt>
                <c:pt idx="13">
                  <c:v>6</c:v>
                </c:pt>
                <c:pt idx="14">
                  <c:v>1</c:v>
                </c:pt>
                <c:pt idx="15">
                  <c:v>2</c:v>
                </c:pt>
                <c:pt idx="16">
                  <c:v>8</c:v>
                </c:pt>
                <c:pt idx="17">
                  <c:v>6</c:v>
                </c:pt>
                <c:pt idx="18">
                  <c:v>24</c:v>
                </c:pt>
                <c:pt idx="19">
                  <c:v>20</c:v>
                </c:pt>
                <c:pt idx="20">
                  <c:v>31</c:v>
                </c:pt>
                <c:pt idx="21">
                  <c:v>68</c:v>
                </c:pt>
                <c:pt idx="22">
                  <c:v>45</c:v>
                </c:pt>
                <c:pt idx="23">
                  <c:v>140</c:v>
                </c:pt>
                <c:pt idx="24">
                  <c:v>116</c:v>
                </c:pt>
                <c:pt idx="25">
                  <c:v>65</c:v>
                </c:pt>
                <c:pt idx="26">
                  <c:v>376</c:v>
                </c:pt>
                <c:pt idx="27">
                  <c:v>322</c:v>
                </c:pt>
                <c:pt idx="28">
                  <c:v>382</c:v>
                </c:pt>
                <c:pt idx="29">
                  <c:v>516</c:v>
                </c:pt>
                <c:pt idx="30">
                  <c:v>548</c:v>
                </c:pt>
                <c:pt idx="31">
                  <c:v>772</c:v>
                </c:pt>
                <c:pt idx="32">
                  <c:v>1133</c:v>
                </c:pt>
                <c:pt idx="33">
                  <c:v>1789</c:v>
                </c:pt>
                <c:pt idx="34">
                  <c:v>1362</c:v>
                </c:pt>
                <c:pt idx="35">
                  <c:v>5894</c:v>
                </c:pt>
                <c:pt idx="36">
                  <c:v>5423</c:v>
                </c:pt>
                <c:pt idx="37">
                  <c:v>6389</c:v>
                </c:pt>
                <c:pt idx="38">
                  <c:v>7783</c:v>
                </c:pt>
              </c:numCache>
            </c:numRef>
          </c:val>
          <c:extLst xmlns:c16r2="http://schemas.microsoft.com/office/drawing/2015/06/chart">
            <c:ext xmlns:c16="http://schemas.microsoft.com/office/drawing/2014/chart" uri="{C3380CC4-5D6E-409C-BE32-E72D297353CC}">
              <c16:uniqueId val="{00000002-AFFB-46BA-9CDE-97A45EE7D149}"/>
            </c:ext>
          </c:extLst>
        </c:ser>
        <c:ser>
          <c:idx val="3"/>
          <c:order val="3"/>
          <c:spPr>
            <a:solidFill>
              <a:schemeClr val="accent2"/>
            </a:solidFill>
            <a:ln>
              <a:noFill/>
            </a:ln>
          </c:spPr>
          <c:val>
            <c:numRef>
              <c:f>Sheet1!$A$4:$AM$4</c:f>
              <c:numCache>
                <c:formatCode>General</c:formatCode>
                <c:ptCount val="39"/>
                <c:pt idx="0">
                  <c:v>0</c:v>
                </c:pt>
                <c:pt idx="1">
                  <c:v>0</c:v>
                </c:pt>
                <c:pt idx="2">
                  <c:v>0</c:v>
                </c:pt>
                <c:pt idx="3">
                  <c:v>0</c:v>
                </c:pt>
                <c:pt idx="4">
                  <c:v>0</c:v>
                </c:pt>
                <c:pt idx="5">
                  <c:v>0</c:v>
                </c:pt>
                <c:pt idx="6">
                  <c:v>0</c:v>
                </c:pt>
                <c:pt idx="7">
                  <c:v>0</c:v>
                </c:pt>
                <c:pt idx="8">
                  <c:v>0</c:v>
                </c:pt>
                <c:pt idx="9">
                  <c:v>0</c:v>
                </c:pt>
                <c:pt idx="10">
                  <c:v>0</c:v>
                </c:pt>
                <c:pt idx="11">
                  <c:v>0</c:v>
                </c:pt>
                <c:pt idx="12">
                  <c:v>1</c:v>
                </c:pt>
                <c:pt idx="13">
                  <c:v>10</c:v>
                </c:pt>
                <c:pt idx="14">
                  <c:v>19</c:v>
                </c:pt>
                <c:pt idx="15">
                  <c:v>2</c:v>
                </c:pt>
                <c:pt idx="16">
                  <c:v>31</c:v>
                </c:pt>
                <c:pt idx="17">
                  <c:v>51</c:v>
                </c:pt>
                <c:pt idx="18">
                  <c:v>29</c:v>
                </c:pt>
                <c:pt idx="19">
                  <c:v>37</c:v>
                </c:pt>
                <c:pt idx="20">
                  <c:v>66</c:v>
                </c:pt>
                <c:pt idx="21">
                  <c:v>220</c:v>
                </c:pt>
                <c:pt idx="22">
                  <c:v>188</c:v>
                </c:pt>
                <c:pt idx="23">
                  <c:v>129</c:v>
                </c:pt>
                <c:pt idx="24">
                  <c:v>241</c:v>
                </c:pt>
                <c:pt idx="25">
                  <c:v>136</c:v>
                </c:pt>
                <c:pt idx="26">
                  <c:v>281</c:v>
                </c:pt>
                <c:pt idx="27">
                  <c:v>451</c:v>
                </c:pt>
                <c:pt idx="28">
                  <c:v>170</c:v>
                </c:pt>
                <c:pt idx="29">
                  <c:v>1597</c:v>
                </c:pt>
                <c:pt idx="30">
                  <c:v>910</c:v>
                </c:pt>
                <c:pt idx="31">
                  <c:v>1210</c:v>
                </c:pt>
                <c:pt idx="32">
                  <c:v>1477</c:v>
                </c:pt>
                <c:pt idx="33">
                  <c:v>1985</c:v>
                </c:pt>
                <c:pt idx="34">
                  <c:v>3070</c:v>
                </c:pt>
                <c:pt idx="35">
                  <c:v>2993</c:v>
                </c:pt>
                <c:pt idx="36">
                  <c:v>4528</c:v>
                </c:pt>
                <c:pt idx="37">
                  <c:v>2365</c:v>
                </c:pt>
                <c:pt idx="38">
                  <c:v>2660</c:v>
                </c:pt>
              </c:numCache>
            </c:numRef>
          </c:val>
          <c:extLst xmlns:c16r2="http://schemas.microsoft.com/office/drawing/2015/06/chart">
            <c:ext xmlns:c16="http://schemas.microsoft.com/office/drawing/2014/chart" uri="{C3380CC4-5D6E-409C-BE32-E72D297353CC}">
              <c16:uniqueId val="{00000003-AFFB-46BA-9CDE-97A45EE7D149}"/>
            </c:ext>
          </c:extLst>
        </c:ser>
        <c:ser>
          <c:idx val="4"/>
          <c:order val="4"/>
          <c:spPr>
            <a:solidFill>
              <a:srgbClr val="46C7DA"/>
            </a:solidFill>
            <a:ln>
              <a:noFill/>
            </a:ln>
          </c:spPr>
          <c:val>
            <c:numRef>
              <c:f>Sheet1!$A$5:$AM$5</c:f>
              <c:numCache>
                <c:formatCode>General</c:formatCode>
                <c:ptCount val="39"/>
                <c:pt idx="0">
                  <c:v>0</c:v>
                </c:pt>
                <c:pt idx="1">
                  <c:v>0</c:v>
                </c:pt>
                <c:pt idx="2">
                  <c:v>1</c:v>
                </c:pt>
                <c:pt idx="3">
                  <c:v>0</c:v>
                </c:pt>
                <c:pt idx="4">
                  <c:v>0</c:v>
                </c:pt>
                <c:pt idx="5">
                  <c:v>0</c:v>
                </c:pt>
                <c:pt idx="6">
                  <c:v>0</c:v>
                </c:pt>
                <c:pt idx="7">
                  <c:v>0</c:v>
                </c:pt>
                <c:pt idx="8">
                  <c:v>0</c:v>
                </c:pt>
                <c:pt idx="9">
                  <c:v>0</c:v>
                </c:pt>
                <c:pt idx="10">
                  <c:v>0</c:v>
                </c:pt>
                <c:pt idx="11">
                  <c:v>0</c:v>
                </c:pt>
                <c:pt idx="12">
                  <c:v>2</c:v>
                </c:pt>
                <c:pt idx="13">
                  <c:v>4</c:v>
                </c:pt>
                <c:pt idx="14">
                  <c:v>20</c:v>
                </c:pt>
                <c:pt idx="15">
                  <c:v>19</c:v>
                </c:pt>
                <c:pt idx="16">
                  <c:v>43</c:v>
                </c:pt>
                <c:pt idx="17">
                  <c:v>30</c:v>
                </c:pt>
                <c:pt idx="18">
                  <c:v>61</c:v>
                </c:pt>
                <c:pt idx="19">
                  <c:v>13</c:v>
                </c:pt>
                <c:pt idx="20">
                  <c:v>84</c:v>
                </c:pt>
                <c:pt idx="21">
                  <c:v>92</c:v>
                </c:pt>
                <c:pt idx="22">
                  <c:v>276</c:v>
                </c:pt>
                <c:pt idx="23">
                  <c:v>301</c:v>
                </c:pt>
                <c:pt idx="24">
                  <c:v>177</c:v>
                </c:pt>
                <c:pt idx="25">
                  <c:v>83</c:v>
                </c:pt>
                <c:pt idx="26">
                  <c:v>575</c:v>
                </c:pt>
                <c:pt idx="27">
                  <c:v>498</c:v>
                </c:pt>
                <c:pt idx="28">
                  <c:v>0</c:v>
                </c:pt>
                <c:pt idx="29">
                  <c:v>1388</c:v>
                </c:pt>
                <c:pt idx="30">
                  <c:v>809</c:v>
                </c:pt>
                <c:pt idx="31">
                  <c:v>36</c:v>
                </c:pt>
                <c:pt idx="32">
                  <c:v>2145</c:v>
                </c:pt>
                <c:pt idx="33">
                  <c:v>1031</c:v>
                </c:pt>
                <c:pt idx="34">
                  <c:v>1406</c:v>
                </c:pt>
                <c:pt idx="35">
                  <c:v>1842</c:v>
                </c:pt>
                <c:pt idx="36">
                  <c:v>1779</c:v>
                </c:pt>
                <c:pt idx="37">
                  <c:v>1705</c:v>
                </c:pt>
                <c:pt idx="38">
                  <c:v>1745</c:v>
                </c:pt>
              </c:numCache>
            </c:numRef>
          </c:val>
          <c:extLst xmlns:c16r2="http://schemas.microsoft.com/office/drawing/2015/06/chart">
            <c:ext xmlns:c16="http://schemas.microsoft.com/office/drawing/2014/chart" uri="{C3380CC4-5D6E-409C-BE32-E72D297353CC}">
              <c16:uniqueId val="{00000004-AFFB-46BA-9CDE-97A45EE7D149}"/>
            </c:ext>
          </c:extLst>
        </c:ser>
        <c:ser>
          <c:idx val="5"/>
          <c:order val="5"/>
          <c:spPr>
            <a:solidFill>
              <a:srgbClr val="89364D"/>
            </a:solidFill>
            <a:ln>
              <a:noFill/>
            </a:ln>
          </c:spPr>
          <c:val>
            <c:numRef>
              <c:f>Sheet1!$A$6:$AM$6</c:f>
              <c:numCache>
                <c:formatCode>General</c:formatCode>
                <c:ptCount val="39"/>
                <c:pt idx="0">
                  <c:v>0</c:v>
                </c:pt>
                <c:pt idx="1">
                  <c:v>0</c:v>
                </c:pt>
                <c:pt idx="2">
                  <c:v>0</c:v>
                </c:pt>
                <c:pt idx="3">
                  <c:v>0</c:v>
                </c:pt>
                <c:pt idx="4">
                  <c:v>0</c:v>
                </c:pt>
                <c:pt idx="5">
                  <c:v>0</c:v>
                </c:pt>
                <c:pt idx="6">
                  <c:v>0</c:v>
                </c:pt>
                <c:pt idx="7">
                  <c:v>0</c:v>
                </c:pt>
                <c:pt idx="8">
                  <c:v>0</c:v>
                </c:pt>
                <c:pt idx="9">
                  <c:v>0</c:v>
                </c:pt>
                <c:pt idx="10">
                  <c:v>0</c:v>
                </c:pt>
                <c:pt idx="11">
                  <c:v>0</c:v>
                </c:pt>
                <c:pt idx="12">
                  <c:v>4</c:v>
                </c:pt>
                <c:pt idx="13">
                  <c:v>7</c:v>
                </c:pt>
                <c:pt idx="14">
                  <c:v>2</c:v>
                </c:pt>
                <c:pt idx="15">
                  <c:v>17</c:v>
                </c:pt>
                <c:pt idx="16">
                  <c:v>13</c:v>
                </c:pt>
                <c:pt idx="17">
                  <c:v>39</c:v>
                </c:pt>
                <c:pt idx="18">
                  <c:v>36</c:v>
                </c:pt>
                <c:pt idx="19">
                  <c:v>45</c:v>
                </c:pt>
                <c:pt idx="20">
                  <c:v>57</c:v>
                </c:pt>
                <c:pt idx="21">
                  <c:v>37</c:v>
                </c:pt>
                <c:pt idx="22">
                  <c:v>141</c:v>
                </c:pt>
                <c:pt idx="23">
                  <c:v>100</c:v>
                </c:pt>
                <c:pt idx="24">
                  <c:v>173</c:v>
                </c:pt>
                <c:pt idx="25">
                  <c:v>400</c:v>
                </c:pt>
                <c:pt idx="26">
                  <c:v>622</c:v>
                </c:pt>
                <c:pt idx="27">
                  <c:v>582</c:v>
                </c:pt>
                <c:pt idx="28">
                  <c:v>0</c:v>
                </c:pt>
                <c:pt idx="29">
                  <c:v>2955</c:v>
                </c:pt>
                <c:pt idx="30">
                  <c:v>1159</c:v>
                </c:pt>
                <c:pt idx="31">
                  <c:v>1407</c:v>
                </c:pt>
                <c:pt idx="32">
                  <c:v>2144</c:v>
                </c:pt>
                <c:pt idx="33">
                  <c:v>1806</c:v>
                </c:pt>
                <c:pt idx="34">
                  <c:v>2162</c:v>
                </c:pt>
                <c:pt idx="35">
                  <c:v>4053</c:v>
                </c:pt>
                <c:pt idx="36">
                  <c:v>2447</c:v>
                </c:pt>
                <c:pt idx="37">
                  <c:v>4964</c:v>
                </c:pt>
                <c:pt idx="38">
                  <c:v>3394</c:v>
                </c:pt>
              </c:numCache>
            </c:numRef>
          </c:val>
          <c:extLst xmlns:c16r2="http://schemas.microsoft.com/office/drawing/2015/06/chart">
            <c:ext xmlns:c16="http://schemas.microsoft.com/office/drawing/2014/chart" uri="{C3380CC4-5D6E-409C-BE32-E72D297353CC}">
              <c16:uniqueId val="{00000005-AFFB-46BA-9CDE-97A45EE7D149}"/>
            </c:ext>
          </c:extLst>
        </c:ser>
        <c:ser>
          <c:idx val="6"/>
          <c:order val="6"/>
          <c:spPr>
            <a:solidFill>
              <a:srgbClr val="7DCCA5"/>
            </a:solidFill>
            <a:ln>
              <a:noFill/>
            </a:ln>
          </c:spPr>
          <c:val>
            <c:numRef>
              <c:f>Sheet1!$A$7:$AM$7</c:f>
              <c:numCache>
                <c:formatCode>General</c:formatCode>
                <c:ptCount val="39"/>
                <c:pt idx="0">
                  <c:v>0</c:v>
                </c:pt>
                <c:pt idx="1">
                  <c:v>0</c:v>
                </c:pt>
                <c:pt idx="2">
                  <c:v>0</c:v>
                </c:pt>
                <c:pt idx="3">
                  <c:v>1</c:v>
                </c:pt>
                <c:pt idx="4">
                  <c:v>1</c:v>
                </c:pt>
                <c:pt idx="5">
                  <c:v>1</c:v>
                </c:pt>
                <c:pt idx="6">
                  <c:v>0</c:v>
                </c:pt>
                <c:pt idx="7">
                  <c:v>73</c:v>
                </c:pt>
                <c:pt idx="8">
                  <c:v>100</c:v>
                </c:pt>
                <c:pt idx="9">
                  <c:v>229</c:v>
                </c:pt>
                <c:pt idx="10">
                  <c:v>169</c:v>
                </c:pt>
                <c:pt idx="11">
                  <c:v>231</c:v>
                </c:pt>
                <c:pt idx="12">
                  <c:v>144</c:v>
                </c:pt>
                <c:pt idx="13">
                  <c:v>284</c:v>
                </c:pt>
                <c:pt idx="14">
                  <c:v>505</c:v>
                </c:pt>
                <c:pt idx="15">
                  <c:v>571</c:v>
                </c:pt>
                <c:pt idx="16">
                  <c:v>813</c:v>
                </c:pt>
                <c:pt idx="17">
                  <c:v>586</c:v>
                </c:pt>
                <c:pt idx="18">
                  <c:v>599</c:v>
                </c:pt>
                <c:pt idx="19">
                  <c:v>851</c:v>
                </c:pt>
                <c:pt idx="20">
                  <c:v>435</c:v>
                </c:pt>
                <c:pt idx="21">
                  <c:v>467</c:v>
                </c:pt>
                <c:pt idx="22">
                  <c:v>505</c:v>
                </c:pt>
                <c:pt idx="23">
                  <c:v>448</c:v>
                </c:pt>
                <c:pt idx="24">
                  <c:v>273</c:v>
                </c:pt>
                <c:pt idx="25">
                  <c:v>164</c:v>
                </c:pt>
                <c:pt idx="26">
                  <c:v>35</c:v>
                </c:pt>
                <c:pt idx="27">
                  <c:v>242</c:v>
                </c:pt>
                <c:pt idx="28">
                  <c:v>114</c:v>
                </c:pt>
                <c:pt idx="29">
                  <c:v>110</c:v>
                </c:pt>
                <c:pt idx="30">
                  <c:v>107</c:v>
                </c:pt>
                <c:pt idx="31">
                  <c:v>76</c:v>
                </c:pt>
                <c:pt idx="32">
                  <c:v>74</c:v>
                </c:pt>
                <c:pt idx="33">
                  <c:v>84</c:v>
                </c:pt>
                <c:pt idx="34">
                  <c:v>93</c:v>
                </c:pt>
                <c:pt idx="35">
                  <c:v>152</c:v>
                </c:pt>
                <c:pt idx="36">
                  <c:v>87</c:v>
                </c:pt>
                <c:pt idx="37">
                  <c:v>147</c:v>
                </c:pt>
                <c:pt idx="38">
                  <c:v>98</c:v>
                </c:pt>
              </c:numCache>
            </c:numRef>
          </c:val>
          <c:extLst xmlns:c16r2="http://schemas.microsoft.com/office/drawing/2015/06/chart">
            <c:ext xmlns:c16="http://schemas.microsoft.com/office/drawing/2014/chart" uri="{C3380CC4-5D6E-409C-BE32-E72D297353CC}">
              <c16:uniqueId val="{00000006-AFFB-46BA-9CDE-97A45EE7D149}"/>
            </c:ext>
          </c:extLst>
        </c:ser>
        <c:ser>
          <c:idx val="7"/>
          <c:order val="7"/>
          <c:spPr>
            <a:solidFill>
              <a:srgbClr val="FFFFBD"/>
            </a:solidFill>
            <a:ln>
              <a:noFill/>
            </a:ln>
          </c:spPr>
          <c:val>
            <c:numRef>
              <c:f>Sheet1!$A$8:$AM$8</c:f>
              <c:numCache>
                <c:formatCode>General</c:formatCode>
                <c:ptCount val="39"/>
                <c:pt idx="0">
                  <c:v>0</c:v>
                </c:pt>
                <c:pt idx="1">
                  <c:v>0</c:v>
                </c:pt>
                <c:pt idx="2">
                  <c:v>0</c:v>
                </c:pt>
                <c:pt idx="3">
                  <c:v>0</c:v>
                </c:pt>
                <c:pt idx="4">
                  <c:v>0</c:v>
                </c:pt>
                <c:pt idx="5">
                  <c:v>0</c:v>
                </c:pt>
                <c:pt idx="6">
                  <c:v>2</c:v>
                </c:pt>
                <c:pt idx="7">
                  <c:v>3</c:v>
                </c:pt>
                <c:pt idx="8">
                  <c:v>13</c:v>
                </c:pt>
                <c:pt idx="9">
                  <c:v>10</c:v>
                </c:pt>
                <c:pt idx="10">
                  <c:v>15</c:v>
                </c:pt>
                <c:pt idx="11">
                  <c:v>18</c:v>
                </c:pt>
                <c:pt idx="12">
                  <c:v>34</c:v>
                </c:pt>
                <c:pt idx="13">
                  <c:v>44</c:v>
                </c:pt>
                <c:pt idx="14">
                  <c:v>106</c:v>
                </c:pt>
                <c:pt idx="15">
                  <c:v>143</c:v>
                </c:pt>
                <c:pt idx="16">
                  <c:v>205</c:v>
                </c:pt>
                <c:pt idx="17">
                  <c:v>385</c:v>
                </c:pt>
                <c:pt idx="18">
                  <c:v>523</c:v>
                </c:pt>
                <c:pt idx="19">
                  <c:v>835</c:v>
                </c:pt>
                <c:pt idx="20">
                  <c:v>586</c:v>
                </c:pt>
                <c:pt idx="21">
                  <c:v>591</c:v>
                </c:pt>
                <c:pt idx="22">
                  <c:v>1234</c:v>
                </c:pt>
                <c:pt idx="23">
                  <c:v>1076</c:v>
                </c:pt>
                <c:pt idx="24">
                  <c:v>743</c:v>
                </c:pt>
                <c:pt idx="25">
                  <c:v>595</c:v>
                </c:pt>
                <c:pt idx="26">
                  <c:v>881</c:v>
                </c:pt>
                <c:pt idx="27">
                  <c:v>958</c:v>
                </c:pt>
                <c:pt idx="28">
                  <c:v>1075</c:v>
                </c:pt>
                <c:pt idx="29">
                  <c:v>1289</c:v>
                </c:pt>
                <c:pt idx="30">
                  <c:v>1365</c:v>
                </c:pt>
                <c:pt idx="31">
                  <c:v>1209</c:v>
                </c:pt>
                <c:pt idx="32">
                  <c:v>1053</c:v>
                </c:pt>
                <c:pt idx="33">
                  <c:v>1178</c:v>
                </c:pt>
                <c:pt idx="34">
                  <c:v>1192</c:v>
                </c:pt>
                <c:pt idx="35">
                  <c:v>1046</c:v>
                </c:pt>
                <c:pt idx="36">
                  <c:v>1237</c:v>
                </c:pt>
                <c:pt idx="37">
                  <c:v>966</c:v>
                </c:pt>
                <c:pt idx="38">
                  <c:v>1028</c:v>
                </c:pt>
              </c:numCache>
            </c:numRef>
          </c:val>
          <c:extLst xmlns:c16r2="http://schemas.microsoft.com/office/drawing/2015/06/chart">
            <c:ext xmlns:c16="http://schemas.microsoft.com/office/drawing/2014/chart" uri="{C3380CC4-5D6E-409C-BE32-E72D297353CC}">
              <c16:uniqueId val="{00000007-AFFB-46BA-9CDE-97A45EE7D149}"/>
            </c:ext>
          </c:extLst>
        </c:ser>
        <c:ser>
          <c:idx val="8"/>
          <c:order val="8"/>
          <c:spPr>
            <a:solidFill>
              <a:schemeClr val="tx1"/>
            </a:solidFill>
            <a:ln>
              <a:noFill/>
            </a:ln>
          </c:spPr>
          <c:val>
            <c:numRef>
              <c:f>Sheet1!$A$9:$AM$9</c:f>
              <c:numCache>
                <c:formatCode>General</c:formatCode>
                <c:ptCount val="39"/>
                <c:pt idx="0">
                  <c:v>0</c:v>
                </c:pt>
                <c:pt idx="1">
                  <c:v>0</c:v>
                </c:pt>
                <c:pt idx="2">
                  <c:v>0</c:v>
                </c:pt>
                <c:pt idx="3">
                  <c:v>0</c:v>
                </c:pt>
                <c:pt idx="4">
                  <c:v>0</c:v>
                </c:pt>
                <c:pt idx="5">
                  <c:v>0</c:v>
                </c:pt>
                <c:pt idx="6">
                  <c:v>0</c:v>
                </c:pt>
                <c:pt idx="7">
                  <c:v>0</c:v>
                </c:pt>
                <c:pt idx="8">
                  <c:v>17</c:v>
                </c:pt>
                <c:pt idx="9">
                  <c:v>42</c:v>
                </c:pt>
                <c:pt idx="10">
                  <c:v>93</c:v>
                </c:pt>
                <c:pt idx="11">
                  <c:v>74</c:v>
                </c:pt>
                <c:pt idx="12">
                  <c:v>93</c:v>
                </c:pt>
                <c:pt idx="13">
                  <c:v>131</c:v>
                </c:pt>
                <c:pt idx="14">
                  <c:v>202</c:v>
                </c:pt>
                <c:pt idx="15">
                  <c:v>233</c:v>
                </c:pt>
                <c:pt idx="16">
                  <c:v>240</c:v>
                </c:pt>
                <c:pt idx="17">
                  <c:v>566</c:v>
                </c:pt>
                <c:pt idx="18">
                  <c:v>342</c:v>
                </c:pt>
                <c:pt idx="19">
                  <c:v>466</c:v>
                </c:pt>
                <c:pt idx="20">
                  <c:v>587</c:v>
                </c:pt>
                <c:pt idx="21">
                  <c:v>769</c:v>
                </c:pt>
                <c:pt idx="22">
                  <c:v>778</c:v>
                </c:pt>
                <c:pt idx="23">
                  <c:v>1247</c:v>
                </c:pt>
                <c:pt idx="24">
                  <c:v>1492</c:v>
                </c:pt>
                <c:pt idx="25">
                  <c:v>1797</c:v>
                </c:pt>
                <c:pt idx="26">
                  <c:v>977</c:v>
                </c:pt>
                <c:pt idx="27">
                  <c:v>2313</c:v>
                </c:pt>
                <c:pt idx="28">
                  <c:v>0</c:v>
                </c:pt>
                <c:pt idx="29">
                  <c:v>5198</c:v>
                </c:pt>
                <c:pt idx="30">
                  <c:v>3497</c:v>
                </c:pt>
                <c:pt idx="31">
                  <c:v>3590</c:v>
                </c:pt>
                <c:pt idx="32">
                  <c:v>3233</c:v>
                </c:pt>
                <c:pt idx="33">
                  <c:v>3526</c:v>
                </c:pt>
                <c:pt idx="34">
                  <c:v>4207</c:v>
                </c:pt>
                <c:pt idx="35">
                  <c:v>5322</c:v>
                </c:pt>
                <c:pt idx="36">
                  <c:v>5986</c:v>
                </c:pt>
                <c:pt idx="37">
                  <c:v>6557</c:v>
                </c:pt>
                <c:pt idx="38">
                  <c:v>5560</c:v>
                </c:pt>
              </c:numCache>
            </c:numRef>
          </c:val>
          <c:extLst xmlns:c16r2="http://schemas.microsoft.com/office/drawing/2015/06/chart">
            <c:ext xmlns:c16="http://schemas.microsoft.com/office/drawing/2014/chart" uri="{C3380CC4-5D6E-409C-BE32-E72D297353CC}">
              <c16:uniqueId val="{00000008-AFFB-46BA-9CDE-97A45EE7D149}"/>
            </c:ext>
          </c:extLst>
        </c:ser>
        <c:dLbls>
          <c:showLegendKey val="0"/>
          <c:showVal val="0"/>
          <c:showCatName val="0"/>
          <c:showSerName val="0"/>
          <c:showPercent val="0"/>
          <c:showBubbleSize val="0"/>
        </c:dLbls>
        <c:axId val="563210600"/>
        <c:axId val="563209816"/>
      </c:areaChart>
      <c:catAx>
        <c:axId val="563210600"/>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563209816"/>
        <c:crosses val="min"/>
        <c:auto val="0"/>
        <c:lblAlgn val="ctr"/>
        <c:lblOffset val="100"/>
        <c:noMultiLvlLbl val="0"/>
      </c:catAx>
      <c:valAx>
        <c:axId val="563209816"/>
        <c:scaling>
          <c:orientation val="minMax"/>
          <c:max val="32344"/>
          <c:min val="0"/>
        </c:scaling>
        <c:delete val="0"/>
        <c:axPos val="l"/>
        <c:majorGridlines>
          <c:spPr>
            <a:ln>
              <a:noFill/>
            </a:ln>
          </c:spPr>
        </c:majorGridlines>
        <c:numFmt formatCode="General" sourceLinked="1"/>
        <c:majorTickMark val="none"/>
        <c:minorTickMark val="none"/>
        <c:tickLblPos val="none"/>
        <c:spPr>
          <a:ln w="9525" algn="ctr">
            <a:solidFill>
              <a:srgbClr val="7F7F7F"/>
            </a:solidFill>
            <a:prstDash val="solid"/>
          </a:ln>
        </c:spPr>
        <c:crossAx val="563210600"/>
        <c:crosses val="min"/>
        <c:crossBetween val="midCat"/>
        <c:majorUnit val="10000"/>
      </c:valAx>
    </c:plotArea>
    <c:plotVisOnly val="0"/>
    <c:dispBlanksAs val="zero"/>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7922077922077"/>
          <c:y val="5.4654654654654654E-2"/>
          <c:w val="0.7984415584415584"/>
          <c:h val="0.89069069069069062"/>
        </c:manualLayout>
      </c:layout>
      <c:scatterChart>
        <c:scatterStyle val="lineMarker"/>
        <c:varyColors val="0"/>
        <c:ser>
          <c:idx val="0"/>
          <c:order val="0"/>
          <c:spPr>
            <a:ln w="28575" algn="ctr">
              <a:solidFill>
                <a:srgbClr val="9A9A9A"/>
              </a:solidFill>
              <a:prstDash val="solid"/>
            </a:ln>
          </c:spPr>
          <c:marker>
            <c:symbol val="none"/>
          </c:marker>
          <c:xVal>
            <c:numRef>
              <c:f>Sheet1!$A$1:$W$1</c:f>
              <c:numCache>
                <c:formatCode>General</c:formatCode>
                <c:ptCount val="23"/>
                <c:pt idx="0">
                  <c:v>18322</c:v>
                </c:pt>
                <c:pt idx="1">
                  <c:v>18323</c:v>
                </c:pt>
                <c:pt idx="2">
                  <c:v>18324</c:v>
                </c:pt>
                <c:pt idx="3">
                  <c:v>18325</c:v>
                </c:pt>
                <c:pt idx="4">
                  <c:v>18326</c:v>
                </c:pt>
                <c:pt idx="5">
                  <c:v>18327</c:v>
                </c:pt>
                <c:pt idx="6">
                  <c:v>18328</c:v>
                </c:pt>
                <c:pt idx="7">
                  <c:v>18329</c:v>
                </c:pt>
                <c:pt idx="8">
                  <c:v>18330</c:v>
                </c:pt>
                <c:pt idx="9">
                  <c:v>18331</c:v>
                </c:pt>
                <c:pt idx="10">
                  <c:v>18332</c:v>
                </c:pt>
                <c:pt idx="11">
                  <c:v>18333</c:v>
                </c:pt>
                <c:pt idx="12">
                  <c:v>18334</c:v>
                </c:pt>
                <c:pt idx="13">
                  <c:v>18335</c:v>
                </c:pt>
                <c:pt idx="14">
                  <c:v>18336</c:v>
                </c:pt>
                <c:pt idx="15">
                  <c:v>18337</c:v>
                </c:pt>
                <c:pt idx="16">
                  <c:v>18338</c:v>
                </c:pt>
                <c:pt idx="17">
                  <c:v>18339</c:v>
                </c:pt>
                <c:pt idx="18">
                  <c:v>18340</c:v>
                </c:pt>
                <c:pt idx="19">
                  <c:v>18341</c:v>
                </c:pt>
                <c:pt idx="20">
                  <c:v>18342</c:v>
                </c:pt>
                <c:pt idx="21">
                  <c:v>18343</c:v>
                </c:pt>
                <c:pt idx="22">
                  <c:v>18344</c:v>
                </c:pt>
              </c:numCache>
            </c:numRef>
          </c:xVal>
          <c:yVal>
            <c:numRef>
              <c:f>Sheet1!$A$2:$W$2</c:f>
              <c:numCache>
                <c:formatCode>General</c:formatCode>
                <c:ptCount val="23"/>
                <c:pt idx="0">
                  <c:v>0</c:v>
                </c:pt>
                <c:pt idx="1">
                  <c:v>0</c:v>
                </c:pt>
                <c:pt idx="2">
                  <c:v>1</c:v>
                </c:pt>
                <c:pt idx="3">
                  <c:v>3</c:v>
                </c:pt>
                <c:pt idx="4">
                  <c:v>4</c:v>
                </c:pt>
                <c:pt idx="5">
                  <c:v>5</c:v>
                </c:pt>
                <c:pt idx="6">
                  <c:v>7</c:v>
                </c:pt>
                <c:pt idx="7">
                  <c:v>10</c:v>
                </c:pt>
                <c:pt idx="8">
                  <c:v>13</c:v>
                </c:pt>
                <c:pt idx="9">
                  <c:v>17</c:v>
                </c:pt>
                <c:pt idx="10">
                  <c:v>23</c:v>
                </c:pt>
                <c:pt idx="11">
                  <c:v>34</c:v>
                </c:pt>
                <c:pt idx="12">
                  <c:v>43</c:v>
                </c:pt>
                <c:pt idx="13">
                  <c:v>61</c:v>
                </c:pt>
                <c:pt idx="14">
                  <c:v>75</c:v>
                </c:pt>
                <c:pt idx="15">
                  <c:v>156</c:v>
                </c:pt>
                <c:pt idx="16">
                  <c:v>201</c:v>
                </c:pt>
                <c:pt idx="17">
                  <c:v>238</c:v>
                </c:pt>
                <c:pt idx="18">
                  <c:v>342</c:v>
                </c:pt>
                <c:pt idx="19">
                  <c:v>434</c:v>
                </c:pt>
                <c:pt idx="20">
                  <c:v>537</c:v>
                </c:pt>
                <c:pt idx="21">
                  <c:v>632</c:v>
                </c:pt>
                <c:pt idx="22">
                  <c:v>746</c:v>
                </c:pt>
              </c:numCache>
            </c:numRef>
          </c:yVal>
          <c:smooth val="0"/>
          <c:extLst xmlns:c16r2="http://schemas.microsoft.com/office/drawing/2015/06/chart">
            <c:ext xmlns:c16="http://schemas.microsoft.com/office/drawing/2014/chart" uri="{C3380CC4-5D6E-409C-BE32-E72D297353CC}">
              <c16:uniqueId val="{00000000-9D59-4395-8E71-F819C4197829}"/>
            </c:ext>
          </c:extLst>
        </c:ser>
        <c:dLbls>
          <c:showLegendKey val="0"/>
          <c:showVal val="0"/>
          <c:showCatName val="0"/>
          <c:showSerName val="0"/>
          <c:showPercent val="0"/>
          <c:showBubbleSize val="0"/>
        </c:dLbls>
        <c:axId val="563209032"/>
        <c:axId val="563215696"/>
      </c:scatterChart>
      <c:scatterChart>
        <c:scatterStyle val="lineMarker"/>
        <c:varyColors val="0"/>
        <c:ser>
          <c:idx val="1"/>
          <c:order val="1"/>
          <c:spPr>
            <a:ln w="28575" algn="ctr">
              <a:solidFill>
                <a:srgbClr val="29BA74"/>
              </a:solidFill>
              <a:prstDash val="solid"/>
            </a:ln>
          </c:spPr>
          <c:marker>
            <c:symbol val="none"/>
          </c:marker>
          <c:xVal>
            <c:numRef>
              <c:f>Sheet1!$A$1:$W$1</c:f>
              <c:numCache>
                <c:formatCode>General</c:formatCode>
                <c:ptCount val="23"/>
                <c:pt idx="0">
                  <c:v>18322</c:v>
                </c:pt>
                <c:pt idx="1">
                  <c:v>18323</c:v>
                </c:pt>
                <c:pt idx="2">
                  <c:v>18324</c:v>
                </c:pt>
                <c:pt idx="3">
                  <c:v>18325</c:v>
                </c:pt>
                <c:pt idx="4">
                  <c:v>18326</c:v>
                </c:pt>
                <c:pt idx="5">
                  <c:v>18327</c:v>
                </c:pt>
                <c:pt idx="6">
                  <c:v>18328</c:v>
                </c:pt>
                <c:pt idx="7">
                  <c:v>18329</c:v>
                </c:pt>
                <c:pt idx="8">
                  <c:v>18330</c:v>
                </c:pt>
                <c:pt idx="9">
                  <c:v>18331</c:v>
                </c:pt>
                <c:pt idx="10">
                  <c:v>18332</c:v>
                </c:pt>
                <c:pt idx="11">
                  <c:v>18333</c:v>
                </c:pt>
                <c:pt idx="12">
                  <c:v>18334</c:v>
                </c:pt>
                <c:pt idx="13">
                  <c:v>18335</c:v>
                </c:pt>
                <c:pt idx="14">
                  <c:v>18336</c:v>
                </c:pt>
                <c:pt idx="15">
                  <c:v>18337</c:v>
                </c:pt>
                <c:pt idx="16">
                  <c:v>18338</c:v>
                </c:pt>
                <c:pt idx="17">
                  <c:v>18339</c:v>
                </c:pt>
                <c:pt idx="18">
                  <c:v>18340</c:v>
                </c:pt>
                <c:pt idx="19">
                  <c:v>18341</c:v>
                </c:pt>
                <c:pt idx="20">
                  <c:v>18342</c:v>
                </c:pt>
                <c:pt idx="21">
                  <c:v>18343</c:v>
                </c:pt>
                <c:pt idx="22">
                  <c:v>18344</c:v>
                </c:pt>
              </c:numCache>
            </c:numRef>
          </c:xVal>
          <c:yVal>
            <c:numRef>
              <c:f>Sheet1!$A$3:$W$3</c:f>
              <c:numCache>
                <c:formatCode>General</c:formatCode>
                <c:ptCount val="23"/>
                <c:pt idx="0">
                  <c:v>0</c:v>
                </c:pt>
                <c:pt idx="1">
                  <c:v>0</c:v>
                </c:pt>
                <c:pt idx="2">
                  <c:v>1</c:v>
                </c:pt>
                <c:pt idx="3">
                  <c:v>2</c:v>
                </c:pt>
                <c:pt idx="4">
                  <c:v>1</c:v>
                </c:pt>
                <c:pt idx="5">
                  <c:v>1</c:v>
                </c:pt>
                <c:pt idx="6">
                  <c:v>2</c:v>
                </c:pt>
                <c:pt idx="7">
                  <c:v>3</c:v>
                </c:pt>
                <c:pt idx="8">
                  <c:v>3</c:v>
                </c:pt>
                <c:pt idx="9">
                  <c:v>4</c:v>
                </c:pt>
                <c:pt idx="10">
                  <c:v>6</c:v>
                </c:pt>
                <c:pt idx="11">
                  <c:v>11</c:v>
                </c:pt>
                <c:pt idx="12">
                  <c:v>9</c:v>
                </c:pt>
                <c:pt idx="13">
                  <c:v>18</c:v>
                </c:pt>
                <c:pt idx="14">
                  <c:v>14</c:v>
                </c:pt>
                <c:pt idx="15">
                  <c:v>81</c:v>
                </c:pt>
                <c:pt idx="16">
                  <c:v>45</c:v>
                </c:pt>
                <c:pt idx="17">
                  <c:v>37</c:v>
                </c:pt>
                <c:pt idx="18">
                  <c:v>104</c:v>
                </c:pt>
                <c:pt idx="19">
                  <c:v>92</c:v>
                </c:pt>
                <c:pt idx="20">
                  <c:v>103</c:v>
                </c:pt>
                <c:pt idx="21">
                  <c:v>95</c:v>
                </c:pt>
                <c:pt idx="22">
                  <c:v>114</c:v>
                </c:pt>
              </c:numCache>
            </c:numRef>
          </c:yVal>
          <c:smooth val="0"/>
          <c:extLst xmlns:c16r2="http://schemas.microsoft.com/office/drawing/2015/06/chart">
            <c:ext xmlns:c16="http://schemas.microsoft.com/office/drawing/2014/chart" uri="{C3380CC4-5D6E-409C-BE32-E72D297353CC}">
              <c16:uniqueId val="{00000001-9D59-4395-8E71-F819C4197829}"/>
            </c:ext>
          </c:extLst>
        </c:ser>
        <c:dLbls>
          <c:showLegendKey val="0"/>
          <c:showVal val="0"/>
          <c:showCatName val="0"/>
          <c:showSerName val="0"/>
          <c:showPercent val="0"/>
          <c:showBubbleSize val="0"/>
        </c:dLbls>
        <c:axId val="563209032"/>
        <c:axId val="563211384"/>
      </c:scatterChart>
      <c:valAx>
        <c:axId val="563209032"/>
        <c:scaling>
          <c:orientation val="minMax"/>
          <c:max val="18344"/>
          <c:min val="18321"/>
        </c:scaling>
        <c:delete val="0"/>
        <c:axPos val="b"/>
        <c:majorGridlines>
          <c:spPr>
            <a:ln>
              <a:noFill/>
            </a:ln>
          </c:spPr>
        </c:majorGridlines>
        <c:numFmt formatCode="General" sourceLinked="1"/>
        <c:majorTickMark val="out"/>
        <c:minorTickMark val="none"/>
        <c:tickLblPos val="none"/>
        <c:spPr>
          <a:ln w="9525" algn="ctr">
            <a:solidFill>
              <a:srgbClr val="7F7F7F"/>
            </a:solidFill>
            <a:prstDash val="solid"/>
          </a:ln>
        </c:spPr>
        <c:txPr>
          <a:bodyPr wrap="none"/>
          <a:lstStyle/>
          <a:p>
            <a:pPr>
              <a:defRPr sz="1600">
                <a:latin typeface="+mn-lt"/>
                <a:ea typeface="+mn-ea"/>
                <a:cs typeface="+mn-cs"/>
                <a:sym typeface="+mn-lt"/>
              </a:defRPr>
            </a:pPr>
            <a:endParaRPr lang="es-ES"/>
          </a:p>
        </c:txPr>
        <c:crossAx val="563215696"/>
        <c:crosses val="min"/>
        <c:crossBetween val="midCat"/>
        <c:majorUnit val="6"/>
      </c:valAx>
      <c:valAx>
        <c:axId val="563215696"/>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a:solidFill>
                  <a:schemeClr val="tx1"/>
                </a:solidFill>
                <a:latin typeface="+mn-lt"/>
                <a:ea typeface="+mn-ea"/>
                <a:cs typeface="+mn-cs"/>
                <a:sym typeface="+mn-lt"/>
              </a:defRPr>
            </a:pPr>
            <a:endParaRPr lang="es-ES"/>
          </a:p>
        </c:txPr>
        <c:crossAx val="563209032"/>
        <c:crosses val="min"/>
        <c:crossBetween val="midCat"/>
        <c:majorUnit val="200"/>
      </c:valAx>
      <c:valAx>
        <c:axId val="563211384"/>
        <c:scaling>
          <c:orientation val="minMax"/>
          <c:max val="150"/>
          <c:min val="0"/>
        </c:scaling>
        <c:delete val="0"/>
        <c:axPos val="r"/>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600">
                <a:solidFill>
                  <a:schemeClr val="tx1"/>
                </a:solidFill>
                <a:latin typeface="+mn-lt"/>
                <a:ea typeface="+mn-ea"/>
                <a:cs typeface="+mn-cs"/>
                <a:sym typeface="+mn-lt"/>
              </a:defRPr>
            </a:pPr>
            <a:endParaRPr lang="es-ES"/>
          </a:p>
        </c:txPr>
        <c:crossAx val="563209032"/>
        <c:crosses val="max"/>
        <c:crossBetween val="midCat"/>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25/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3/25/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0</a:t>
            </a:fld>
            <a:endParaRPr lang="en-US" dirty="0">
              <a:solidFill>
                <a:srgbClr val="6E6F73"/>
              </a:solidFill>
            </a:endParaRPr>
          </a:p>
        </p:txBody>
      </p:sp>
    </p:spTree>
    <p:extLst>
      <p:ext uri="{BB962C8B-B14F-4D97-AF65-F5344CB8AC3E}">
        <p14:creationId xmlns:p14="http://schemas.microsoft.com/office/powerpoint/2010/main" val="25365571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11</a:t>
            </a:fld>
            <a:endParaRPr lang="es-ES" dirty="0"/>
          </a:p>
        </p:txBody>
      </p:sp>
    </p:spTree>
    <p:extLst>
      <p:ext uri="{BB962C8B-B14F-4D97-AF65-F5344CB8AC3E}">
        <p14:creationId xmlns:p14="http://schemas.microsoft.com/office/powerpoint/2010/main" val="27367477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12</a:t>
            </a:fld>
            <a:endParaRPr lang="es-ES" dirty="0"/>
          </a:p>
        </p:txBody>
      </p:sp>
    </p:spTree>
    <p:extLst>
      <p:ext uri="{BB962C8B-B14F-4D97-AF65-F5344CB8AC3E}">
        <p14:creationId xmlns:p14="http://schemas.microsoft.com/office/powerpoint/2010/main" val="500821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13</a:t>
            </a:fld>
            <a:endParaRPr lang="es-ES" dirty="0"/>
          </a:p>
        </p:txBody>
      </p:sp>
    </p:spTree>
    <p:extLst>
      <p:ext uri="{BB962C8B-B14F-4D97-AF65-F5344CB8AC3E}">
        <p14:creationId xmlns:p14="http://schemas.microsoft.com/office/powerpoint/2010/main" val="3121190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434562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75660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2</a:t>
            </a:fld>
            <a:endParaRPr lang="es-ES" dirty="0"/>
          </a:p>
        </p:txBody>
      </p:sp>
    </p:spTree>
    <p:extLst>
      <p:ext uri="{BB962C8B-B14F-4D97-AF65-F5344CB8AC3E}">
        <p14:creationId xmlns:p14="http://schemas.microsoft.com/office/powerpoint/2010/main" val="3668270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3</a:t>
            </a:fld>
            <a:endParaRPr lang="es-ES" dirty="0"/>
          </a:p>
        </p:txBody>
      </p:sp>
    </p:spTree>
    <p:extLst>
      <p:ext uri="{BB962C8B-B14F-4D97-AF65-F5344CB8AC3E}">
        <p14:creationId xmlns:p14="http://schemas.microsoft.com/office/powerpoint/2010/main" val="2336003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850494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387114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187001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r>
              <a:rPr lang="es-ES" dirty="0"/>
              <a:t>Notes view: </a:t>
            </a:r>
            <a:fld id="{128CEAFE-FA94-43E5-B0FF-D47E1CCDD1B4}" type="slidenum">
              <a:rPr lang="es-ES" smtClean="0"/>
              <a:pPr/>
              <a:t>7</a:t>
            </a:fld>
            <a:endParaRPr lang="es-ES" dirty="0"/>
          </a:p>
        </p:txBody>
      </p:sp>
    </p:spTree>
    <p:extLst>
      <p:ext uri="{BB962C8B-B14F-4D97-AF65-F5344CB8AC3E}">
        <p14:creationId xmlns:p14="http://schemas.microsoft.com/office/powerpoint/2010/main" val="15697109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42880926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7.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1.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2.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3.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4.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46.xml"/><Relationship Id="rId7" Type="http://schemas.openxmlformats.org/officeDocument/2006/relationships/image" Target="../media/image2.emf"/><Relationship Id="rId2" Type="http://schemas.openxmlformats.org/officeDocument/2006/relationships/tags" Target="../tags/tag14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14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8.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3.png"/><Relationship Id="rId2" Type="http://schemas.openxmlformats.org/officeDocument/2006/relationships/tags" Target="../tags/tag15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3.png"/><Relationship Id="rId2" Type="http://schemas.openxmlformats.org/officeDocument/2006/relationships/tags" Target="../tags/tag15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4.xml"/><Relationship Id="rId7" Type="http://schemas.openxmlformats.org/officeDocument/2006/relationships/oleObject" Target="../embeddings/oleObject20.bin"/><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slideMaster" Target="../slideMasters/slideMaster2.xml"/><Relationship Id="rId5" Type="http://schemas.openxmlformats.org/officeDocument/2006/relationships/tags" Target="../tags/tag86.xml"/><Relationship Id="rId10" Type="http://schemas.openxmlformats.org/officeDocument/2006/relationships/image" Target="../media/image10.jpg"/><Relationship Id="rId4" Type="http://schemas.openxmlformats.org/officeDocument/2006/relationships/tags" Target="../tags/tag85.xml"/><Relationship Id="rId9"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png"/><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3.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2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24.bin"/><Relationship Id="rId2" Type="http://schemas.openxmlformats.org/officeDocument/2006/relationships/tags" Target="../tags/tag115.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118.xml"/><Relationship Id="rId10" Type="http://schemas.openxmlformats.org/officeDocument/2006/relationships/image" Target="../media/image10.jpg"/><Relationship Id="rId4" Type="http://schemas.openxmlformats.org/officeDocument/2006/relationships/tags" Target="../tags/tag117.xml"/><Relationship Id="rId9"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5"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67635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8713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43577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150024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25162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73685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896188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36256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8080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68899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13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93234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8900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543732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1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23230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41282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2159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842509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8411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28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105343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18939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72594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7"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267783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7447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1960094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923759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19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2260202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171852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15076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058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1527040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601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4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1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9"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2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66"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39"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7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2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4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7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3"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631600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15695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79372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7884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6486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777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99291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92690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65548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3224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66312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149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solidFill>
                <a:latin typeface="+mn-lt"/>
                <a:sym typeface="Trebuchet MS" panose="020B0603020202020204" pitchFamily="34" charset="0"/>
              </a:rPr>
              <a:t>Gestión de crisis COVID - perspectivas BCG 25mar2020 vFINAL.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0463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315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391996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85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8702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703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21030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540077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70349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833158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schemeClr val="bg1">
                    <a:lumMod val="50000"/>
                  </a:schemeClr>
                </a:solidFill>
                <a:latin typeface="+mn-lt"/>
                <a:sym typeface="Trebuchet MS" panose="020B0603020202020204" pitchFamily="34" charset="0"/>
              </a:rPr>
              <a:t>Gestión de crisis COVID - perspectivas BCG 25mar2020 vFINAL.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62531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418689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solidFill>
                <a:sym typeface="Trebuchet MS" panose="020B0603020202020204" pitchFamily="34" charset="0"/>
              </a:rPr>
              <a:t>Gestión de crisis COVID - perspectivas BCG 25mar2020 vFINAL.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4253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91722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1246191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889948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6"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788492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433480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2779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s-ES" sz="700" smtClean="0">
                <a:solidFill>
                  <a:prstClr val="white">
                    <a:lumMod val="50000"/>
                  </a:prstClr>
                </a:solidFill>
                <a:sym typeface="Trebuchet MS" panose="020B0603020202020204" pitchFamily="34" charset="0"/>
              </a:rPr>
              <a:t>Gestión de crisis COVID - perspectivas BCG 25mar2020 vFINAL.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14321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63" Type="http://schemas.openxmlformats.org/officeDocument/2006/relationships/slideLayout" Target="../slideLayouts/slideLayout130.xml"/><Relationship Id="rId68" Type="http://schemas.openxmlformats.org/officeDocument/2006/relationships/theme" Target="../theme/theme2.xml"/><Relationship Id="rId7" Type="http://schemas.openxmlformats.org/officeDocument/2006/relationships/slideLayout" Target="../slideLayouts/slideLayout74.xml"/><Relationship Id="rId71" Type="http://schemas.openxmlformats.org/officeDocument/2006/relationships/oleObject" Target="../embeddings/oleObject19.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66" Type="http://schemas.openxmlformats.org/officeDocument/2006/relationships/slideLayout" Target="../slideLayouts/slideLayout133.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61" Type="http://schemas.openxmlformats.org/officeDocument/2006/relationships/slideLayout" Target="../slideLayouts/slideLayout128.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56" Type="http://schemas.openxmlformats.org/officeDocument/2006/relationships/slideLayout" Target="../slideLayouts/slideLayout123.xml"/><Relationship Id="rId64" Type="http://schemas.openxmlformats.org/officeDocument/2006/relationships/slideLayout" Target="../slideLayouts/slideLayout131.xml"/><Relationship Id="rId69" Type="http://schemas.openxmlformats.org/officeDocument/2006/relationships/vmlDrawing" Target="../drawings/vmlDrawing19.v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image" Target="../media/image1.emf"/><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2"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6"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989339267"/>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2.emf"/><Relationship Id="rId2" Type="http://schemas.openxmlformats.org/officeDocument/2006/relationships/tags" Target="../tags/tag16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xml"/><Relationship Id="rId4"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46.vml"/><Relationship Id="rId6" Type="http://schemas.openxmlformats.org/officeDocument/2006/relationships/image" Target="../media/image11.emf"/><Relationship Id="rId5" Type="http://schemas.openxmlformats.org/officeDocument/2006/relationships/oleObject" Target="../embeddings/oleObject46.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20.jpg"/><Relationship Id="rId2" Type="http://schemas.openxmlformats.org/officeDocument/2006/relationships/tags" Target="../tags/tag238.xml"/><Relationship Id="rId1" Type="http://schemas.openxmlformats.org/officeDocument/2006/relationships/vmlDrawing" Target="../drawings/vmlDrawing47.vml"/><Relationship Id="rId6" Type="http://schemas.openxmlformats.org/officeDocument/2006/relationships/image" Target="../media/image11.emf"/><Relationship Id="rId5" Type="http://schemas.openxmlformats.org/officeDocument/2006/relationships/oleObject" Target="../embeddings/oleObject47.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241.xml"/><Relationship Id="rId7" Type="http://schemas.openxmlformats.org/officeDocument/2006/relationships/image" Target="../media/image11.emf"/><Relationship Id="rId2" Type="http://schemas.openxmlformats.org/officeDocument/2006/relationships/tags" Target="../tags/tag24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243.xml"/><Relationship Id="rId7" Type="http://schemas.openxmlformats.org/officeDocument/2006/relationships/image" Target="../media/image11.emf"/><Relationship Id="rId2" Type="http://schemas.openxmlformats.org/officeDocument/2006/relationships/tags" Target="../tags/tag242.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45.xml"/><Relationship Id="rId7" Type="http://schemas.openxmlformats.org/officeDocument/2006/relationships/tags" Target="../tags/tag249.xml"/><Relationship Id="rId12" Type="http://schemas.openxmlformats.org/officeDocument/2006/relationships/image" Target="../media/image22.png"/><Relationship Id="rId2" Type="http://schemas.openxmlformats.org/officeDocument/2006/relationships/tags" Target="../tags/tag244.xml"/><Relationship Id="rId1" Type="http://schemas.openxmlformats.org/officeDocument/2006/relationships/vmlDrawing" Target="../drawings/vmlDrawing50.vml"/><Relationship Id="rId6" Type="http://schemas.openxmlformats.org/officeDocument/2006/relationships/tags" Target="../tags/tag248.xml"/><Relationship Id="rId11" Type="http://schemas.openxmlformats.org/officeDocument/2006/relationships/image" Target="../media/image11.emf"/><Relationship Id="rId5" Type="http://schemas.openxmlformats.org/officeDocument/2006/relationships/tags" Target="../tags/tag247.xml"/><Relationship Id="rId10" Type="http://schemas.openxmlformats.org/officeDocument/2006/relationships/oleObject" Target="../embeddings/oleObject50.bin"/><Relationship Id="rId4" Type="http://schemas.openxmlformats.org/officeDocument/2006/relationships/tags" Target="../tags/tag246.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51.xml"/><Relationship Id="rId7" Type="http://schemas.openxmlformats.org/officeDocument/2006/relationships/oleObject" Target="../embeddings/oleObject51.bin"/><Relationship Id="rId2" Type="http://schemas.openxmlformats.org/officeDocument/2006/relationships/tags" Target="../tags/tag250.xml"/><Relationship Id="rId1" Type="http://schemas.openxmlformats.org/officeDocument/2006/relationships/vmlDrawing" Target="../drawings/vmlDrawing51.vml"/><Relationship Id="rId6" Type="http://schemas.openxmlformats.org/officeDocument/2006/relationships/notesSlide" Target="../notesSlides/notesSlide13.xml"/><Relationship Id="rId5" Type="http://schemas.openxmlformats.org/officeDocument/2006/relationships/slideLayout" Target="../slideLayouts/slideLayout10.xml"/><Relationship Id="rId4" Type="http://schemas.openxmlformats.org/officeDocument/2006/relationships/tags" Target="../tags/tag252.xml"/><Relationship Id="rId9" Type="http://schemas.openxmlformats.org/officeDocument/2006/relationships/image" Target="../media/image23.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65.xml"/><Relationship Id="rId7" Type="http://schemas.openxmlformats.org/officeDocument/2006/relationships/image" Target="../media/image11.emf"/><Relationship Id="rId2" Type="http://schemas.openxmlformats.org/officeDocument/2006/relationships/tags" Target="../tags/tag16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13.jpg"/></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67.xml"/><Relationship Id="rId7" Type="http://schemas.openxmlformats.org/officeDocument/2006/relationships/oleObject" Target="../embeddings/oleObject39.bin"/><Relationship Id="rId2" Type="http://schemas.openxmlformats.org/officeDocument/2006/relationships/tags" Target="../tags/tag166.xml"/><Relationship Id="rId1" Type="http://schemas.openxmlformats.org/officeDocument/2006/relationships/vmlDrawing" Target="../drawings/vmlDrawing39.vml"/><Relationship Id="rId6" Type="http://schemas.openxmlformats.org/officeDocument/2006/relationships/notesSlide" Target="../notesSlides/notesSlide3.xml"/><Relationship Id="rId5" Type="http://schemas.openxmlformats.org/officeDocument/2006/relationships/slideLayout" Target="../slideLayouts/slideLayout2.xml"/><Relationship Id="rId10" Type="http://schemas.openxmlformats.org/officeDocument/2006/relationships/image" Target="../media/image15.png"/><Relationship Id="rId4" Type="http://schemas.openxmlformats.org/officeDocument/2006/relationships/tags" Target="../tags/tag168.xm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tags" Target="../tags/tag180.xml"/><Relationship Id="rId18" Type="http://schemas.openxmlformats.org/officeDocument/2006/relationships/tags" Target="../tags/tag185.xml"/><Relationship Id="rId26" Type="http://schemas.openxmlformats.org/officeDocument/2006/relationships/tags" Target="../tags/tag193.xml"/><Relationship Id="rId39" Type="http://schemas.openxmlformats.org/officeDocument/2006/relationships/tags" Target="../tags/tag206.xml"/><Relationship Id="rId3" Type="http://schemas.openxmlformats.org/officeDocument/2006/relationships/tags" Target="../tags/tag170.xml"/><Relationship Id="rId21" Type="http://schemas.openxmlformats.org/officeDocument/2006/relationships/tags" Target="../tags/tag188.xml"/><Relationship Id="rId34" Type="http://schemas.openxmlformats.org/officeDocument/2006/relationships/tags" Target="../tags/tag201.xml"/><Relationship Id="rId42" Type="http://schemas.openxmlformats.org/officeDocument/2006/relationships/notesSlide" Target="../notesSlides/notesSlide4.xml"/><Relationship Id="rId7" Type="http://schemas.openxmlformats.org/officeDocument/2006/relationships/tags" Target="../tags/tag174.xml"/><Relationship Id="rId12" Type="http://schemas.openxmlformats.org/officeDocument/2006/relationships/tags" Target="../tags/tag179.xml"/><Relationship Id="rId17" Type="http://schemas.openxmlformats.org/officeDocument/2006/relationships/tags" Target="../tags/tag184.xml"/><Relationship Id="rId25" Type="http://schemas.openxmlformats.org/officeDocument/2006/relationships/tags" Target="../tags/tag192.xml"/><Relationship Id="rId33" Type="http://schemas.openxmlformats.org/officeDocument/2006/relationships/tags" Target="../tags/tag200.xml"/><Relationship Id="rId38" Type="http://schemas.openxmlformats.org/officeDocument/2006/relationships/tags" Target="../tags/tag205.xml"/><Relationship Id="rId2" Type="http://schemas.openxmlformats.org/officeDocument/2006/relationships/tags" Target="../tags/tag169.xml"/><Relationship Id="rId16" Type="http://schemas.openxmlformats.org/officeDocument/2006/relationships/tags" Target="../tags/tag183.xml"/><Relationship Id="rId20" Type="http://schemas.openxmlformats.org/officeDocument/2006/relationships/tags" Target="../tags/tag187.xml"/><Relationship Id="rId29" Type="http://schemas.openxmlformats.org/officeDocument/2006/relationships/tags" Target="../tags/tag196.xml"/><Relationship Id="rId41" Type="http://schemas.openxmlformats.org/officeDocument/2006/relationships/slideLayout" Target="../slideLayouts/slideLayout2.xml"/><Relationship Id="rId1" Type="http://schemas.openxmlformats.org/officeDocument/2006/relationships/vmlDrawing" Target="../drawings/vmlDrawing40.vml"/><Relationship Id="rId6" Type="http://schemas.openxmlformats.org/officeDocument/2006/relationships/tags" Target="../tags/tag173.xml"/><Relationship Id="rId11" Type="http://schemas.openxmlformats.org/officeDocument/2006/relationships/tags" Target="../tags/tag17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tags" Target="../tags/tag204.xml"/><Relationship Id="rId40" Type="http://schemas.openxmlformats.org/officeDocument/2006/relationships/tags" Target="../tags/tag207.xml"/><Relationship Id="rId45" Type="http://schemas.openxmlformats.org/officeDocument/2006/relationships/chart" Target="../charts/chart1.xml"/><Relationship Id="rId5" Type="http://schemas.openxmlformats.org/officeDocument/2006/relationships/tags" Target="../tags/tag172.xml"/><Relationship Id="rId15" Type="http://schemas.openxmlformats.org/officeDocument/2006/relationships/tags" Target="../tags/tag18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tags" Target="../tags/tag203.xml"/><Relationship Id="rId10" Type="http://schemas.openxmlformats.org/officeDocument/2006/relationships/tags" Target="../tags/tag177.xml"/><Relationship Id="rId19" Type="http://schemas.openxmlformats.org/officeDocument/2006/relationships/tags" Target="../tags/tag186.xml"/><Relationship Id="rId31" Type="http://schemas.openxmlformats.org/officeDocument/2006/relationships/tags" Target="../tags/tag198.xml"/><Relationship Id="rId44" Type="http://schemas.openxmlformats.org/officeDocument/2006/relationships/image" Target="../media/image11.emf"/><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tags" Target="../tags/tag18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tags" Target="../tags/tag202.xml"/><Relationship Id="rId43" Type="http://schemas.openxmlformats.org/officeDocument/2006/relationships/oleObject" Target="../embeddings/oleObject40.bin"/></Relationships>
</file>

<file path=ppt/slides/_rels/slide5.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notesSlide" Target="../notesSlides/notesSlide5.xml"/><Relationship Id="rId3" Type="http://schemas.openxmlformats.org/officeDocument/2006/relationships/tags" Target="../tags/tag209.xml"/><Relationship Id="rId21" Type="http://schemas.openxmlformats.org/officeDocument/2006/relationships/chart" Target="../charts/chart2.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slideLayout" Target="../slideLayouts/slideLayout2.xml"/><Relationship Id="rId2" Type="http://schemas.openxmlformats.org/officeDocument/2006/relationships/tags" Target="../tags/tag208.xml"/><Relationship Id="rId16" Type="http://schemas.openxmlformats.org/officeDocument/2006/relationships/tags" Target="../tags/tag222.xml"/><Relationship Id="rId20" Type="http://schemas.openxmlformats.org/officeDocument/2006/relationships/image" Target="../media/image11.emf"/><Relationship Id="rId1" Type="http://schemas.openxmlformats.org/officeDocument/2006/relationships/vmlDrawing" Target="../drawings/vmlDrawing41.v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tags" Target="../tags/tag221.xml"/><Relationship Id="rId23" Type="http://schemas.openxmlformats.org/officeDocument/2006/relationships/image" Target="../media/image17.png"/><Relationship Id="rId10" Type="http://schemas.openxmlformats.org/officeDocument/2006/relationships/tags" Target="../tags/tag216.xml"/><Relationship Id="rId19" Type="http://schemas.openxmlformats.org/officeDocument/2006/relationships/oleObject" Target="../embeddings/oleObject41.bin"/><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 Id="rId22"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24.xml"/><Relationship Id="rId7" Type="http://schemas.openxmlformats.org/officeDocument/2006/relationships/oleObject" Target="../embeddings/oleObject42.bin"/><Relationship Id="rId2" Type="http://schemas.openxmlformats.org/officeDocument/2006/relationships/tags" Target="../tags/tag223.xml"/><Relationship Id="rId1" Type="http://schemas.openxmlformats.org/officeDocument/2006/relationships/vmlDrawing" Target="../drawings/vmlDrawing42.vml"/><Relationship Id="rId6" Type="http://schemas.openxmlformats.org/officeDocument/2006/relationships/notesSlide" Target="../notesSlides/notesSlide6.xml"/><Relationship Id="rId5" Type="http://schemas.openxmlformats.org/officeDocument/2006/relationships/slideLayout" Target="../slideLayouts/slideLayout9.xml"/><Relationship Id="rId4" Type="http://schemas.openxmlformats.org/officeDocument/2006/relationships/tags" Target="../tags/tag225.xml"/><Relationship Id="rId9" Type="http://schemas.openxmlformats.org/officeDocument/2006/relationships/slide" Target="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27.xml"/><Relationship Id="rId7" Type="http://schemas.openxmlformats.org/officeDocument/2006/relationships/oleObject" Target="../embeddings/oleObject43.bin"/><Relationship Id="rId2" Type="http://schemas.openxmlformats.org/officeDocument/2006/relationships/tags" Target="../tags/tag226.xml"/><Relationship Id="rId1" Type="http://schemas.openxmlformats.org/officeDocument/2006/relationships/vmlDrawing" Target="../drawings/vmlDrawing43.vml"/><Relationship Id="rId6" Type="http://schemas.openxmlformats.org/officeDocument/2006/relationships/notesSlide" Target="../notesSlides/notesSlide7.xml"/><Relationship Id="rId5" Type="http://schemas.openxmlformats.org/officeDocument/2006/relationships/slideLayout" Target="../slideLayouts/slideLayout9.xml"/><Relationship Id="rId10" Type="http://schemas.openxmlformats.org/officeDocument/2006/relationships/image" Target="../media/image19.png"/><Relationship Id="rId4" Type="http://schemas.openxmlformats.org/officeDocument/2006/relationships/tags" Target="../tags/tag228.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30.xml"/><Relationship Id="rId7" Type="http://schemas.openxmlformats.org/officeDocument/2006/relationships/notesSlide" Target="../notesSlides/notesSlide8.xml"/><Relationship Id="rId2" Type="http://schemas.openxmlformats.org/officeDocument/2006/relationships/tags" Target="../tags/tag229.xml"/><Relationship Id="rId1" Type="http://schemas.openxmlformats.org/officeDocument/2006/relationships/vmlDrawing" Target="../drawings/vmlDrawing44.vml"/><Relationship Id="rId6" Type="http://schemas.openxmlformats.org/officeDocument/2006/relationships/slideLayout" Target="../slideLayouts/slideLayout18.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11.emf"/></Relationships>
</file>

<file path=ppt/slides/_rels/slide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4.xml"/><Relationship Id="rId7" Type="http://schemas.openxmlformats.org/officeDocument/2006/relationships/oleObject" Target="../embeddings/oleObject45.bin"/><Relationship Id="rId2" Type="http://schemas.openxmlformats.org/officeDocument/2006/relationships/tags" Target="../tags/tag233.xml"/><Relationship Id="rId1" Type="http://schemas.openxmlformats.org/officeDocument/2006/relationships/vmlDrawing" Target="../drawings/vmlDrawing45.vml"/><Relationship Id="rId6" Type="http://schemas.openxmlformats.org/officeDocument/2006/relationships/notesSlide" Target="../notesSlides/notesSlide9.xml"/><Relationship Id="rId5" Type="http://schemas.openxmlformats.org/officeDocument/2006/relationships/slideLayout" Target="../slideLayouts/slideLayout9.xml"/><Relationship Id="rId4" Type="http://schemas.openxmlformats.org/officeDocument/2006/relationships/tags" Target="../tags/tag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7655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9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s-CL" dirty="0"/>
              <a:t>25 de Marzo de 2020</a:t>
            </a:r>
            <a:endParaRPr lang="en-US" dirty="0"/>
          </a:p>
        </p:txBody>
      </p:sp>
      <p:sp>
        <p:nvSpPr>
          <p:cNvPr id="12" name="Subtitle 11"/>
          <p:cNvSpPr>
            <a:spLocks noGrp="1"/>
          </p:cNvSpPr>
          <p:nvPr>
            <p:ph type="subTitle" idx="1"/>
          </p:nvPr>
        </p:nvSpPr>
        <p:spPr/>
        <p:txBody>
          <a:bodyPr/>
          <a:lstStyle/>
          <a:p>
            <a:r>
              <a:rPr lang="es-CL" dirty="0"/>
              <a:t>Perspectivas </a:t>
            </a:r>
            <a:r>
              <a:rPr lang="es-CL" dirty="0" err="1"/>
              <a:t>BCG</a:t>
            </a:r>
            <a:endParaRPr lang="en-US" dirty="0"/>
          </a:p>
        </p:txBody>
      </p:sp>
      <p:sp>
        <p:nvSpPr>
          <p:cNvPr id="11" name="Title 10"/>
          <p:cNvSpPr>
            <a:spLocks noGrp="1"/>
          </p:cNvSpPr>
          <p:nvPr>
            <p:ph type="ctrTitle"/>
          </p:nvPr>
        </p:nvSpPr>
        <p:spPr>
          <a:xfrm>
            <a:off x="1117414" y="1886242"/>
            <a:ext cx="7143007" cy="3138423"/>
          </a:xfrm>
        </p:spPr>
        <p:txBody>
          <a:bodyPr>
            <a:normAutofit/>
          </a:bodyPr>
          <a:lstStyle/>
          <a:p>
            <a:r>
              <a:rPr lang="es-CL" sz="4800" dirty="0"/>
              <a:t>Gestión de la crisis del COVID-19 y claves para la recuperación en España</a:t>
            </a:r>
            <a:br>
              <a:rPr lang="es-CL" sz="4800" dirty="0"/>
            </a:br>
            <a:r>
              <a:rPr lang="es-CL" sz="3200" dirty="0"/>
              <a:t>Conversación con Directores en Chile </a:t>
            </a:r>
            <a:endParaRPr lang="en-US" sz="4800" dirty="0"/>
          </a:p>
        </p:txBody>
      </p:sp>
    </p:spTree>
    <p:extLst>
      <p:ext uri="{BB962C8B-B14F-4D97-AF65-F5344CB8AC3E}">
        <p14:creationId xmlns:p14="http://schemas.microsoft.com/office/powerpoint/2010/main" val="194301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9795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7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2681103"/>
            <a:ext cx="2719375" cy="1495794"/>
          </a:xfrm>
        </p:spPr>
        <p:txBody>
          <a:bodyPr/>
          <a:lstStyle/>
          <a:p>
            <a:r>
              <a:rPr lang="es-CL" sz="2800" dirty="0"/>
              <a:t>¿Cómo pueden prepararse las empresas para la recuperación?</a:t>
            </a:r>
          </a:p>
        </p:txBody>
      </p:sp>
      <p:sp>
        <p:nvSpPr>
          <p:cNvPr id="5" name="TextBox 4"/>
          <p:cNvSpPr txBox="1"/>
          <p:nvPr/>
        </p:nvSpPr>
        <p:spPr>
          <a:xfrm>
            <a:off x="4231175" y="1095160"/>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Acelerar la preparación </a:t>
            </a:r>
            <a:br>
              <a:rPr lang="es-CL" sz="1600" dirty="0">
                <a:solidFill>
                  <a:srgbClr val="29BA74"/>
                </a:solidFill>
              </a:rPr>
            </a:br>
            <a:r>
              <a:rPr lang="es-CL" sz="1600" dirty="0">
                <a:solidFill>
                  <a:srgbClr val="29BA74"/>
                </a:solidFill>
              </a:rPr>
              <a:t>de nuestra gente hacia el </a:t>
            </a:r>
            <a:r>
              <a:rPr lang="es-CL" sz="1600" dirty="0" err="1">
                <a:solidFill>
                  <a:srgbClr val="29BA74"/>
                </a:solidFill>
              </a:rPr>
              <a:t>COVID</a:t>
            </a:r>
            <a:endParaRPr lang="es-CL" sz="1600" dirty="0">
              <a:solidFill>
                <a:srgbClr val="29BA74"/>
              </a:solidFill>
            </a:endParaRP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Proveer material para aumentar velocidad de testeo, protección </a:t>
            </a:r>
            <a:br>
              <a:rPr lang="es-CL" sz="1400" dirty="0">
                <a:solidFill>
                  <a:schemeClr val="tx1">
                    <a:lumMod val="100000"/>
                  </a:schemeClr>
                </a:solidFill>
                <a:latin typeface="Trebuchet MS" panose="020B0603020202020204" pitchFamily="34" charset="0"/>
              </a:rPr>
            </a:br>
            <a:r>
              <a:rPr lang="es-CL" sz="1400" dirty="0">
                <a:solidFill>
                  <a:schemeClr val="tx1">
                    <a:lumMod val="100000"/>
                  </a:schemeClr>
                </a:solidFill>
                <a:latin typeface="Trebuchet MS" panose="020B0603020202020204" pitchFamily="34" charset="0"/>
              </a:rPr>
              <a:t>y tratamiento</a:t>
            </a:r>
          </a:p>
          <a:p>
            <a:pPr algn="ctr"/>
            <a:endParaRPr lang="es-CL" sz="1600" dirty="0">
              <a:solidFill>
                <a:srgbClr val="29BA74"/>
              </a:solidFill>
            </a:endParaRPr>
          </a:p>
        </p:txBody>
      </p:sp>
      <p:sp>
        <p:nvSpPr>
          <p:cNvPr id="6" name="TextBox 5"/>
          <p:cNvSpPr txBox="1"/>
          <p:nvPr/>
        </p:nvSpPr>
        <p:spPr>
          <a:xfrm>
            <a:off x="8162220" y="1095160"/>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Cambiar el paradigma </a:t>
            </a:r>
            <a:br>
              <a:rPr lang="es-CL" sz="1600" dirty="0">
                <a:solidFill>
                  <a:srgbClr val="29BA74"/>
                </a:solidFill>
              </a:rPr>
            </a:br>
            <a:r>
              <a:rPr lang="es-CL" sz="1600" dirty="0">
                <a:solidFill>
                  <a:srgbClr val="29BA74"/>
                </a:solidFill>
              </a:rPr>
              <a:t>de la distancia social</a:t>
            </a: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Estrategias prevención de contagios como eliminación de apretón de manos y tacto</a:t>
            </a:r>
          </a:p>
        </p:txBody>
      </p:sp>
      <p:sp>
        <p:nvSpPr>
          <p:cNvPr id="7" name="TextBox 6"/>
          <p:cNvSpPr txBox="1"/>
          <p:nvPr/>
        </p:nvSpPr>
        <p:spPr>
          <a:xfrm>
            <a:off x="4231175" y="3219961"/>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Cambiar el </a:t>
            </a:r>
            <a:br>
              <a:rPr lang="es-CL" sz="1600" dirty="0">
                <a:solidFill>
                  <a:srgbClr val="29BA74"/>
                </a:solidFill>
              </a:rPr>
            </a:br>
            <a:r>
              <a:rPr lang="es-CL" sz="1600" dirty="0">
                <a:solidFill>
                  <a:srgbClr val="29BA74"/>
                </a:solidFill>
              </a:rPr>
              <a:t>modelo operativo</a:t>
            </a: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Facilitar trabajo remoto y adoptar nuevas medidas de prevención como medir nuestra temperatura antes de ir a trabajar o a espacios públicos</a:t>
            </a:r>
          </a:p>
        </p:txBody>
      </p:sp>
      <p:sp>
        <p:nvSpPr>
          <p:cNvPr id="8" name="TextBox 7"/>
          <p:cNvSpPr txBox="1"/>
          <p:nvPr/>
        </p:nvSpPr>
        <p:spPr>
          <a:xfrm>
            <a:off x="8162220" y="3219961"/>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Adaptar el modelo </a:t>
            </a:r>
            <a:br>
              <a:rPr lang="es-CL" sz="1600" dirty="0">
                <a:solidFill>
                  <a:srgbClr val="29BA74"/>
                </a:solidFill>
              </a:rPr>
            </a:br>
            <a:r>
              <a:rPr lang="es-CL" sz="1600" dirty="0">
                <a:solidFill>
                  <a:srgbClr val="29BA74"/>
                </a:solidFill>
              </a:rPr>
              <a:t>de apoyo y regulación</a:t>
            </a: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Proteger a nuestros trabajadores cuando ellos o su familia se enferman</a:t>
            </a:r>
          </a:p>
        </p:txBody>
      </p:sp>
      <p:sp>
        <p:nvSpPr>
          <p:cNvPr id="9" name="TextBox 8"/>
          <p:cNvSpPr txBox="1"/>
          <p:nvPr/>
        </p:nvSpPr>
        <p:spPr>
          <a:xfrm>
            <a:off x="4231175" y="5417504"/>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Apoyar e invertir </a:t>
            </a:r>
            <a:br>
              <a:rPr lang="es-CL" sz="1600" dirty="0">
                <a:solidFill>
                  <a:srgbClr val="29BA74"/>
                </a:solidFill>
              </a:rPr>
            </a:br>
            <a:r>
              <a:rPr lang="es-CL" sz="1600" dirty="0">
                <a:solidFill>
                  <a:srgbClr val="29BA74"/>
                </a:solidFill>
              </a:rPr>
              <a:t>en innovadores</a:t>
            </a: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Apoyar innovación para la prevención, diagnóstico o tratamiento del </a:t>
            </a:r>
            <a:r>
              <a:rPr lang="es-CL" sz="1400" dirty="0" err="1">
                <a:solidFill>
                  <a:schemeClr val="tx1">
                    <a:lumMod val="100000"/>
                  </a:schemeClr>
                </a:solidFill>
                <a:latin typeface="Trebuchet MS" panose="020B0603020202020204" pitchFamily="34" charset="0"/>
              </a:rPr>
              <a:t>COVID</a:t>
            </a:r>
            <a:endParaRPr lang="es-CL" sz="1400" dirty="0">
              <a:solidFill>
                <a:schemeClr val="tx1">
                  <a:lumMod val="100000"/>
                </a:schemeClr>
              </a:solidFill>
              <a:latin typeface="Trebuchet MS" panose="020B0603020202020204" pitchFamily="34" charset="0"/>
            </a:endParaRPr>
          </a:p>
        </p:txBody>
      </p:sp>
      <p:sp>
        <p:nvSpPr>
          <p:cNvPr id="10" name="TextBox 9"/>
          <p:cNvSpPr txBox="1"/>
          <p:nvPr/>
        </p:nvSpPr>
        <p:spPr>
          <a:xfrm>
            <a:off x="8162220" y="5417504"/>
            <a:ext cx="3575175" cy="3189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s-CL" sz="1600" dirty="0">
                <a:solidFill>
                  <a:srgbClr val="29BA74"/>
                </a:solidFill>
              </a:rPr>
              <a:t>Incrementar dramáticamente </a:t>
            </a:r>
            <a:br>
              <a:rPr lang="es-CL" sz="1600" dirty="0">
                <a:solidFill>
                  <a:srgbClr val="29BA74"/>
                </a:solidFill>
              </a:rPr>
            </a:br>
            <a:r>
              <a:rPr lang="es-CL" sz="1600" dirty="0">
                <a:solidFill>
                  <a:srgbClr val="29BA74"/>
                </a:solidFill>
              </a:rPr>
              <a:t>las comunicaciones </a:t>
            </a:r>
          </a:p>
          <a:p>
            <a:pPr marL="324000" lvl="1" indent="-216000">
              <a:buClr>
                <a:schemeClr val="tx2">
                  <a:lumMod val="100000"/>
                </a:schemeClr>
              </a:buClr>
              <a:buSzPct val="100000"/>
              <a:buFont typeface="Trebuchet MS" panose="020B0603020202020204" pitchFamily="34" charset="0"/>
              <a:buChar char="•"/>
            </a:pPr>
            <a:r>
              <a:rPr lang="es-CL" sz="1400" dirty="0">
                <a:solidFill>
                  <a:schemeClr val="tx1">
                    <a:lumMod val="100000"/>
                  </a:schemeClr>
                </a:solidFill>
                <a:latin typeface="Trebuchet MS" panose="020B0603020202020204" pitchFamily="34" charset="0"/>
              </a:rPr>
              <a:t>Liderar nuestra comunidad con mensaje claro y coherente sobre cómo navegar esta crisis</a:t>
            </a:r>
          </a:p>
        </p:txBody>
      </p:sp>
      <p:grpSp>
        <p:nvGrpSpPr>
          <p:cNvPr id="41" name="Group 40"/>
          <p:cNvGrpSpPr>
            <a:grpSpLocks noChangeAspect="1"/>
          </p:cNvGrpSpPr>
          <p:nvPr/>
        </p:nvGrpSpPr>
        <p:grpSpPr>
          <a:xfrm>
            <a:off x="5476528" y="169175"/>
            <a:ext cx="1084468" cy="1085473"/>
            <a:chOff x="5273801" y="2606040"/>
            <a:chExt cx="1644396" cy="1645920"/>
          </a:xfrm>
        </p:grpSpPr>
        <p:sp>
          <p:nvSpPr>
            <p:cNvPr id="42" name="AutoShape 13">
              <a:extLst>
                <a:ext uri="{FF2B5EF4-FFF2-40B4-BE49-F238E27FC236}">
                  <a16:creationId xmlns="" xmlns:a16="http://schemas.microsoft.com/office/drawing/2014/main" id="{055C186E-B0D7-4A0E-8008-204073DBCB5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p:cNvGrpSpPr/>
            <p:nvPr/>
          </p:nvGrpSpPr>
          <p:grpSpPr>
            <a:xfrm>
              <a:off x="5345048" y="3021711"/>
              <a:ext cx="1513332" cy="757428"/>
              <a:chOff x="5345048" y="3021711"/>
              <a:chExt cx="1513332" cy="757428"/>
            </a:xfrm>
          </p:grpSpPr>
          <p:sp>
            <p:nvSpPr>
              <p:cNvPr id="44" name="Freeform 15">
                <a:extLst>
                  <a:ext uri="{FF2B5EF4-FFF2-40B4-BE49-F238E27FC236}">
                    <a16:creationId xmlns="" xmlns:a16="http://schemas.microsoft.com/office/drawing/2014/main" id="{CC5B977C-3CC7-49AD-82C7-FA2DD016AE3E}"/>
                  </a:ext>
                </a:extLst>
              </p:cNvPr>
              <p:cNvSpPr>
                <a:spLocks noEditPoints="1"/>
              </p:cNvSpPr>
              <p:nvPr/>
            </p:nvSpPr>
            <p:spPr bwMode="auto">
              <a:xfrm>
                <a:off x="5345048" y="3021711"/>
                <a:ext cx="1513332" cy="757428"/>
              </a:xfrm>
              <a:custGeom>
                <a:avLst/>
                <a:gdLst>
                  <a:gd name="T0" fmla="*/ 1601 w 2120"/>
                  <a:gd name="T1" fmla="*/ 830 h 1060"/>
                  <a:gd name="T2" fmla="*/ 1604 w 2120"/>
                  <a:gd name="T3" fmla="*/ 874 h 1060"/>
                  <a:gd name="T4" fmla="*/ 165 w 2120"/>
                  <a:gd name="T5" fmla="*/ 874 h 1060"/>
                  <a:gd name="T6" fmla="*/ 165 w 2120"/>
                  <a:gd name="T7" fmla="*/ 852 h 1060"/>
                  <a:gd name="T8" fmla="*/ 165 w 2120"/>
                  <a:gd name="T9" fmla="*/ 830 h 1060"/>
                  <a:gd name="T10" fmla="*/ 1601 w 2120"/>
                  <a:gd name="T11" fmla="*/ 830 h 1060"/>
                  <a:gd name="T12" fmla="*/ 2120 w 2120"/>
                  <a:gd name="T13" fmla="*/ 1018 h 1060"/>
                  <a:gd name="T14" fmla="*/ 2120 w 2120"/>
                  <a:gd name="T15" fmla="*/ 1038 h 1060"/>
                  <a:gd name="T16" fmla="*/ 2098 w 2120"/>
                  <a:gd name="T17" fmla="*/ 1060 h 1060"/>
                  <a:gd name="T18" fmla="*/ 101 w 2120"/>
                  <a:gd name="T19" fmla="*/ 1060 h 1060"/>
                  <a:gd name="T20" fmla="*/ 0 w 2120"/>
                  <a:gd name="T21" fmla="*/ 959 h 1060"/>
                  <a:gd name="T22" fmla="*/ 0 w 2120"/>
                  <a:gd name="T23" fmla="*/ 931 h 1060"/>
                  <a:gd name="T24" fmla="*/ 79 w 2120"/>
                  <a:gd name="T25" fmla="*/ 833 h 1060"/>
                  <a:gd name="T26" fmla="*/ 931 w 2120"/>
                  <a:gd name="T27" fmla="*/ 0 h 1060"/>
                  <a:gd name="T28" fmla="*/ 1474 w 2120"/>
                  <a:gd name="T29" fmla="*/ 194 h 1060"/>
                  <a:gd name="T30" fmla="*/ 1479 w 2120"/>
                  <a:gd name="T31" fmla="*/ 223 h 1060"/>
                  <a:gd name="T32" fmla="*/ 1445 w 2120"/>
                  <a:gd name="T33" fmla="*/ 278 h 1060"/>
                  <a:gd name="T34" fmla="*/ 1686 w 2120"/>
                  <a:gd name="T35" fmla="*/ 808 h 1060"/>
                  <a:gd name="T36" fmla="*/ 2003 w 2120"/>
                  <a:gd name="T37" fmla="*/ 869 h 1060"/>
                  <a:gd name="T38" fmla="*/ 2005 w 2120"/>
                  <a:gd name="T39" fmla="*/ 869 h 1060"/>
                  <a:gd name="T40" fmla="*/ 2120 w 2120"/>
                  <a:gd name="T41" fmla="*/ 1018 h 1060"/>
                  <a:gd name="T42" fmla="*/ 2076 w 2120"/>
                  <a:gd name="T43" fmla="*/ 1016 h 1060"/>
                  <a:gd name="T44" fmla="*/ 1994 w 2120"/>
                  <a:gd name="T45" fmla="*/ 912 h 1060"/>
                  <a:gd name="T46" fmla="*/ 1661 w 2120"/>
                  <a:gd name="T47" fmla="*/ 848 h 1060"/>
                  <a:gd name="T48" fmla="*/ 1643 w 2120"/>
                  <a:gd name="T49" fmla="*/ 827 h 1060"/>
                  <a:gd name="T50" fmla="*/ 1401 w 2120"/>
                  <a:gd name="T51" fmla="*/ 296 h 1060"/>
                  <a:gd name="T52" fmla="*/ 1400 w 2120"/>
                  <a:gd name="T53" fmla="*/ 294 h 1060"/>
                  <a:gd name="T54" fmla="*/ 939 w 2120"/>
                  <a:gd name="T55" fmla="*/ 131 h 1060"/>
                  <a:gd name="T56" fmla="*/ 939 w 2120"/>
                  <a:gd name="T57" fmla="*/ 131 h 1060"/>
                  <a:gd name="T58" fmla="*/ 533 w 2120"/>
                  <a:gd name="T59" fmla="*/ 242 h 1060"/>
                  <a:gd name="T60" fmla="*/ 512 w 2120"/>
                  <a:gd name="T61" fmla="*/ 204 h 1060"/>
                  <a:gd name="T62" fmla="*/ 939 w 2120"/>
                  <a:gd name="T63" fmla="*/ 87 h 1060"/>
                  <a:gd name="T64" fmla="*/ 939 w 2120"/>
                  <a:gd name="T65" fmla="*/ 87 h 1060"/>
                  <a:gd name="T66" fmla="*/ 1412 w 2120"/>
                  <a:gd name="T67" fmla="*/ 248 h 1060"/>
                  <a:gd name="T68" fmla="*/ 1431 w 2120"/>
                  <a:gd name="T69" fmla="*/ 216 h 1060"/>
                  <a:gd name="T70" fmla="*/ 931 w 2120"/>
                  <a:gd name="T71" fmla="*/ 44 h 1060"/>
                  <a:gd name="T72" fmla="*/ 123 w 2120"/>
                  <a:gd name="T73" fmla="*/ 852 h 1060"/>
                  <a:gd name="T74" fmla="*/ 101 w 2120"/>
                  <a:gd name="T75" fmla="*/ 874 h 1060"/>
                  <a:gd name="T76" fmla="*/ 44 w 2120"/>
                  <a:gd name="T77" fmla="*/ 931 h 1060"/>
                  <a:gd name="T78" fmla="*/ 44 w 2120"/>
                  <a:gd name="T79" fmla="*/ 959 h 1060"/>
                  <a:gd name="T80" fmla="*/ 101 w 2120"/>
                  <a:gd name="T81" fmla="*/ 1016 h 1060"/>
                  <a:gd name="T82" fmla="*/ 2076 w 2120"/>
                  <a:gd name="T83" fmla="*/ 1016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0" h="1060">
                    <a:moveTo>
                      <a:pt x="1601" y="830"/>
                    </a:moveTo>
                    <a:cubicBezTo>
                      <a:pt x="1604" y="874"/>
                      <a:pt x="1604" y="874"/>
                      <a:pt x="1604" y="874"/>
                    </a:cubicBezTo>
                    <a:cubicBezTo>
                      <a:pt x="165" y="874"/>
                      <a:pt x="165" y="874"/>
                      <a:pt x="165" y="874"/>
                    </a:cubicBezTo>
                    <a:cubicBezTo>
                      <a:pt x="165" y="852"/>
                      <a:pt x="165" y="852"/>
                      <a:pt x="165" y="852"/>
                    </a:cubicBezTo>
                    <a:cubicBezTo>
                      <a:pt x="165" y="845"/>
                      <a:pt x="165" y="838"/>
                      <a:pt x="165" y="830"/>
                    </a:cubicBezTo>
                    <a:lnTo>
                      <a:pt x="1601" y="830"/>
                    </a:lnTo>
                    <a:close/>
                    <a:moveTo>
                      <a:pt x="2120" y="1018"/>
                    </a:moveTo>
                    <a:cubicBezTo>
                      <a:pt x="2120" y="1038"/>
                      <a:pt x="2120" y="1038"/>
                      <a:pt x="2120" y="1038"/>
                    </a:cubicBezTo>
                    <a:cubicBezTo>
                      <a:pt x="2120" y="1050"/>
                      <a:pt x="2110" y="1060"/>
                      <a:pt x="2098" y="1060"/>
                    </a:cubicBezTo>
                    <a:cubicBezTo>
                      <a:pt x="101" y="1060"/>
                      <a:pt x="101" y="1060"/>
                      <a:pt x="101" y="1060"/>
                    </a:cubicBezTo>
                    <a:cubicBezTo>
                      <a:pt x="45" y="1060"/>
                      <a:pt x="0" y="1015"/>
                      <a:pt x="0" y="959"/>
                    </a:cubicBezTo>
                    <a:cubicBezTo>
                      <a:pt x="0" y="931"/>
                      <a:pt x="0" y="931"/>
                      <a:pt x="0" y="931"/>
                    </a:cubicBezTo>
                    <a:cubicBezTo>
                      <a:pt x="0" y="883"/>
                      <a:pt x="34" y="843"/>
                      <a:pt x="79" y="833"/>
                    </a:cubicBezTo>
                    <a:cubicBezTo>
                      <a:pt x="89" y="371"/>
                      <a:pt x="468" y="0"/>
                      <a:pt x="931" y="0"/>
                    </a:cubicBezTo>
                    <a:cubicBezTo>
                      <a:pt x="1129" y="0"/>
                      <a:pt x="1322" y="69"/>
                      <a:pt x="1474" y="194"/>
                    </a:cubicBezTo>
                    <a:cubicBezTo>
                      <a:pt x="1482" y="201"/>
                      <a:pt x="1484" y="213"/>
                      <a:pt x="1479" y="223"/>
                    </a:cubicBezTo>
                    <a:cubicBezTo>
                      <a:pt x="1445" y="278"/>
                      <a:pt x="1445" y="278"/>
                      <a:pt x="1445" y="278"/>
                    </a:cubicBezTo>
                    <a:cubicBezTo>
                      <a:pt x="1588" y="432"/>
                      <a:pt x="1669" y="609"/>
                      <a:pt x="1686" y="808"/>
                    </a:cubicBezTo>
                    <a:cubicBezTo>
                      <a:pt x="2003" y="869"/>
                      <a:pt x="2003" y="869"/>
                      <a:pt x="2003" y="869"/>
                    </a:cubicBezTo>
                    <a:cubicBezTo>
                      <a:pt x="2004" y="869"/>
                      <a:pt x="2004" y="869"/>
                      <a:pt x="2005" y="869"/>
                    </a:cubicBezTo>
                    <a:cubicBezTo>
                      <a:pt x="2073" y="887"/>
                      <a:pt x="2120" y="948"/>
                      <a:pt x="2120" y="1018"/>
                    </a:cubicBezTo>
                    <a:close/>
                    <a:moveTo>
                      <a:pt x="2076" y="1016"/>
                    </a:moveTo>
                    <a:cubicBezTo>
                      <a:pt x="2075" y="967"/>
                      <a:pt x="2042" y="925"/>
                      <a:pt x="1994" y="912"/>
                    </a:cubicBezTo>
                    <a:cubicBezTo>
                      <a:pt x="1661" y="848"/>
                      <a:pt x="1661" y="848"/>
                      <a:pt x="1661" y="848"/>
                    </a:cubicBezTo>
                    <a:cubicBezTo>
                      <a:pt x="1651" y="846"/>
                      <a:pt x="1644" y="837"/>
                      <a:pt x="1643" y="827"/>
                    </a:cubicBezTo>
                    <a:cubicBezTo>
                      <a:pt x="1630" y="628"/>
                      <a:pt x="1549" y="449"/>
                      <a:pt x="1401" y="296"/>
                    </a:cubicBezTo>
                    <a:cubicBezTo>
                      <a:pt x="1401" y="296"/>
                      <a:pt x="1400" y="295"/>
                      <a:pt x="1400" y="294"/>
                    </a:cubicBezTo>
                    <a:cubicBezTo>
                      <a:pt x="1271" y="189"/>
                      <a:pt x="1108" y="131"/>
                      <a:pt x="939" y="131"/>
                    </a:cubicBezTo>
                    <a:cubicBezTo>
                      <a:pt x="939" y="131"/>
                      <a:pt x="939" y="131"/>
                      <a:pt x="939" y="131"/>
                    </a:cubicBezTo>
                    <a:cubicBezTo>
                      <a:pt x="800" y="131"/>
                      <a:pt x="660" y="169"/>
                      <a:pt x="533" y="242"/>
                    </a:cubicBezTo>
                    <a:cubicBezTo>
                      <a:pt x="512" y="204"/>
                      <a:pt x="512" y="204"/>
                      <a:pt x="512" y="204"/>
                    </a:cubicBezTo>
                    <a:cubicBezTo>
                      <a:pt x="645" y="127"/>
                      <a:pt x="793" y="87"/>
                      <a:pt x="939" y="87"/>
                    </a:cubicBezTo>
                    <a:cubicBezTo>
                      <a:pt x="939" y="87"/>
                      <a:pt x="939" y="87"/>
                      <a:pt x="939" y="87"/>
                    </a:cubicBezTo>
                    <a:cubicBezTo>
                      <a:pt x="1111" y="87"/>
                      <a:pt x="1277" y="144"/>
                      <a:pt x="1412" y="248"/>
                    </a:cubicBezTo>
                    <a:cubicBezTo>
                      <a:pt x="1431" y="216"/>
                      <a:pt x="1431" y="216"/>
                      <a:pt x="1431" y="216"/>
                    </a:cubicBezTo>
                    <a:cubicBezTo>
                      <a:pt x="1289" y="105"/>
                      <a:pt x="1113" y="44"/>
                      <a:pt x="931" y="44"/>
                    </a:cubicBezTo>
                    <a:cubicBezTo>
                      <a:pt x="485" y="44"/>
                      <a:pt x="123" y="406"/>
                      <a:pt x="123" y="852"/>
                    </a:cubicBezTo>
                    <a:cubicBezTo>
                      <a:pt x="123" y="864"/>
                      <a:pt x="113" y="874"/>
                      <a:pt x="101" y="874"/>
                    </a:cubicBezTo>
                    <a:cubicBezTo>
                      <a:pt x="69" y="874"/>
                      <a:pt x="44" y="900"/>
                      <a:pt x="44" y="931"/>
                    </a:cubicBezTo>
                    <a:cubicBezTo>
                      <a:pt x="44" y="959"/>
                      <a:pt x="44" y="959"/>
                      <a:pt x="44" y="959"/>
                    </a:cubicBezTo>
                    <a:cubicBezTo>
                      <a:pt x="44" y="991"/>
                      <a:pt x="69" y="1016"/>
                      <a:pt x="101" y="1016"/>
                    </a:cubicBezTo>
                    <a:lnTo>
                      <a:pt x="2076" y="101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6">
                <a:extLst>
                  <a:ext uri="{FF2B5EF4-FFF2-40B4-BE49-F238E27FC236}">
                    <a16:creationId xmlns="" xmlns:a16="http://schemas.microsoft.com/office/drawing/2014/main" id="{E99C5D16-6F6A-4CE2-A4D1-A3C21F4406F8}"/>
                  </a:ext>
                </a:extLst>
              </p:cNvPr>
              <p:cNvSpPr>
                <a:spLocks noEditPoints="1"/>
              </p:cNvSpPr>
              <p:nvPr/>
            </p:nvSpPr>
            <p:spPr bwMode="auto">
              <a:xfrm>
                <a:off x="5465063" y="3145536"/>
                <a:ext cx="1019175" cy="435483"/>
              </a:xfrm>
              <a:custGeom>
                <a:avLst/>
                <a:gdLst>
                  <a:gd name="T0" fmla="*/ 1197 w 1428"/>
                  <a:gd name="T1" fmla="*/ 610 h 610"/>
                  <a:gd name="T2" fmla="*/ 715 w 1428"/>
                  <a:gd name="T3" fmla="*/ 2 h 610"/>
                  <a:gd name="T4" fmla="*/ 772 w 1428"/>
                  <a:gd name="T5" fmla="*/ 0 h 610"/>
                  <a:gd name="T6" fmla="*/ 772 w 1428"/>
                  <a:gd name="T7" fmla="*/ 0 h 610"/>
                  <a:gd name="T8" fmla="*/ 1198 w 1428"/>
                  <a:gd name="T9" fmla="*/ 148 h 610"/>
                  <a:gd name="T10" fmla="*/ 1203 w 1428"/>
                  <a:gd name="T11" fmla="*/ 153 h 610"/>
                  <a:gd name="T12" fmla="*/ 1428 w 1428"/>
                  <a:gd name="T13" fmla="*/ 610 h 610"/>
                  <a:gd name="T14" fmla="*/ 1197 w 1428"/>
                  <a:gd name="T15" fmla="*/ 610 h 610"/>
                  <a:gd name="T16" fmla="*/ 1092 w 1428"/>
                  <a:gd name="T17" fmla="*/ 585 h 610"/>
                  <a:gd name="T18" fmla="*/ 123 w 1428"/>
                  <a:gd name="T19" fmla="*/ 521 h 610"/>
                  <a:gd name="T20" fmla="*/ 122 w 1428"/>
                  <a:gd name="T21" fmla="*/ 501 h 610"/>
                  <a:gd name="T22" fmla="*/ 230 w 1428"/>
                  <a:gd name="T23" fmla="*/ 136 h 610"/>
                  <a:gd name="T24" fmla="*/ 180 w 1428"/>
                  <a:gd name="T25" fmla="*/ 183 h 610"/>
                  <a:gd name="T26" fmla="*/ 2 w 1428"/>
                  <a:gd name="T27" fmla="*/ 586 h 610"/>
                  <a:gd name="T28" fmla="*/ 2 w 1428"/>
                  <a:gd name="T29" fmla="*/ 590 h 610"/>
                  <a:gd name="T30" fmla="*/ 0 w 1428"/>
                  <a:gd name="T31" fmla="*/ 610 h 610"/>
                  <a:gd name="T32" fmla="*/ 133 w 1428"/>
                  <a:gd name="T33" fmla="*/ 610 h 610"/>
                  <a:gd name="T34" fmla="*/ 1096 w 1428"/>
                  <a:gd name="T35" fmla="*/ 610 h 610"/>
                  <a:gd name="T36" fmla="*/ 1092 w 1428"/>
                  <a:gd name="T37" fmla="*/ 58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8" h="610">
                    <a:moveTo>
                      <a:pt x="1197" y="610"/>
                    </a:moveTo>
                    <a:cubicBezTo>
                      <a:pt x="1163" y="325"/>
                      <a:pt x="972" y="91"/>
                      <a:pt x="715" y="2"/>
                    </a:cubicBezTo>
                    <a:cubicBezTo>
                      <a:pt x="734" y="1"/>
                      <a:pt x="753" y="0"/>
                      <a:pt x="772" y="0"/>
                    </a:cubicBezTo>
                    <a:cubicBezTo>
                      <a:pt x="772" y="0"/>
                      <a:pt x="772" y="0"/>
                      <a:pt x="772" y="0"/>
                    </a:cubicBezTo>
                    <a:cubicBezTo>
                      <a:pt x="927" y="0"/>
                      <a:pt x="1078" y="52"/>
                      <a:pt x="1198" y="148"/>
                    </a:cubicBezTo>
                    <a:cubicBezTo>
                      <a:pt x="1203" y="153"/>
                      <a:pt x="1203" y="153"/>
                      <a:pt x="1203" y="153"/>
                    </a:cubicBezTo>
                    <a:cubicBezTo>
                      <a:pt x="1332" y="286"/>
                      <a:pt x="1407" y="440"/>
                      <a:pt x="1428" y="610"/>
                    </a:cubicBezTo>
                    <a:lnTo>
                      <a:pt x="1197" y="610"/>
                    </a:lnTo>
                    <a:close/>
                    <a:moveTo>
                      <a:pt x="1092" y="585"/>
                    </a:moveTo>
                    <a:cubicBezTo>
                      <a:pt x="123" y="521"/>
                      <a:pt x="123" y="521"/>
                      <a:pt x="123" y="521"/>
                    </a:cubicBezTo>
                    <a:cubicBezTo>
                      <a:pt x="122" y="515"/>
                      <a:pt x="122" y="508"/>
                      <a:pt x="122" y="501"/>
                    </a:cubicBezTo>
                    <a:cubicBezTo>
                      <a:pt x="122" y="362"/>
                      <a:pt x="140" y="234"/>
                      <a:pt x="230" y="136"/>
                    </a:cubicBezTo>
                    <a:cubicBezTo>
                      <a:pt x="212" y="151"/>
                      <a:pt x="196" y="166"/>
                      <a:pt x="180" y="183"/>
                    </a:cubicBezTo>
                    <a:cubicBezTo>
                      <a:pt x="85" y="294"/>
                      <a:pt x="21" y="433"/>
                      <a:pt x="2" y="586"/>
                    </a:cubicBezTo>
                    <a:cubicBezTo>
                      <a:pt x="2" y="588"/>
                      <a:pt x="2" y="589"/>
                      <a:pt x="2" y="590"/>
                    </a:cubicBezTo>
                    <a:cubicBezTo>
                      <a:pt x="1" y="597"/>
                      <a:pt x="0" y="603"/>
                      <a:pt x="0" y="610"/>
                    </a:cubicBezTo>
                    <a:cubicBezTo>
                      <a:pt x="133" y="610"/>
                      <a:pt x="133" y="610"/>
                      <a:pt x="133" y="610"/>
                    </a:cubicBezTo>
                    <a:cubicBezTo>
                      <a:pt x="1096" y="610"/>
                      <a:pt x="1096" y="610"/>
                      <a:pt x="1096" y="610"/>
                    </a:cubicBezTo>
                    <a:cubicBezTo>
                      <a:pt x="1094" y="602"/>
                      <a:pt x="1093" y="593"/>
                      <a:pt x="1092" y="58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6" name="Group 45"/>
          <p:cNvGrpSpPr>
            <a:grpSpLocks noChangeAspect="1"/>
          </p:cNvGrpSpPr>
          <p:nvPr/>
        </p:nvGrpSpPr>
        <p:grpSpPr>
          <a:xfrm>
            <a:off x="9433627" y="152886"/>
            <a:ext cx="1032360" cy="1031364"/>
            <a:chOff x="5273675" y="2606675"/>
            <a:chExt cx="1646238" cy="1644650"/>
          </a:xfrm>
        </p:grpSpPr>
        <p:sp>
          <p:nvSpPr>
            <p:cNvPr id="4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8" name="Group 47"/>
            <p:cNvGrpSpPr/>
            <p:nvPr/>
          </p:nvGrpSpPr>
          <p:grpSpPr>
            <a:xfrm>
              <a:off x="5344772" y="2882900"/>
              <a:ext cx="1503994" cy="1095375"/>
              <a:chOff x="5344772" y="2882900"/>
              <a:chExt cx="1503994" cy="1095375"/>
            </a:xfrm>
          </p:grpSpPr>
          <p:sp>
            <p:nvSpPr>
              <p:cNvPr id="49" name="Freeform 48"/>
              <p:cNvSpPr>
                <a:spLocks/>
              </p:cNvSpPr>
              <p:nvPr/>
            </p:nvSpPr>
            <p:spPr bwMode="auto">
              <a:xfrm>
                <a:off x="5460999" y="2882900"/>
                <a:ext cx="1195388" cy="1095375"/>
              </a:xfrm>
              <a:custGeom>
                <a:avLst/>
                <a:gdLst>
                  <a:gd name="connsiteX0" fmla="*/ 836837 w 1195388"/>
                  <a:gd name="connsiteY0" fmla="*/ 552450 h 1095375"/>
                  <a:gd name="connsiteX1" fmla="*/ 861836 w 1195388"/>
                  <a:gd name="connsiteY1" fmla="*/ 586026 h 1095375"/>
                  <a:gd name="connsiteX2" fmla="*/ 860407 w 1195388"/>
                  <a:gd name="connsiteY2" fmla="*/ 600313 h 1095375"/>
                  <a:gd name="connsiteX3" fmla="*/ 858979 w 1195388"/>
                  <a:gd name="connsiteY3" fmla="*/ 626745 h 1095375"/>
                  <a:gd name="connsiteX4" fmla="*/ 853265 w 1195388"/>
                  <a:gd name="connsiteY4" fmla="*/ 681038 h 1095375"/>
                  <a:gd name="connsiteX5" fmla="*/ 816839 w 1195388"/>
                  <a:gd name="connsiteY5" fmla="*/ 738902 h 1095375"/>
                  <a:gd name="connsiteX6" fmla="*/ 798982 w 1195388"/>
                  <a:gd name="connsiteY6" fmla="*/ 763905 h 1095375"/>
                  <a:gd name="connsiteX7" fmla="*/ 848265 w 1195388"/>
                  <a:gd name="connsiteY7" fmla="*/ 774621 h 1095375"/>
                  <a:gd name="connsiteX8" fmla="*/ 861122 w 1195388"/>
                  <a:gd name="connsiteY8" fmla="*/ 778907 h 1095375"/>
                  <a:gd name="connsiteX9" fmla="*/ 865407 w 1195388"/>
                  <a:gd name="connsiteY9" fmla="*/ 791766 h 1095375"/>
                  <a:gd name="connsiteX10" fmla="*/ 870407 w 1195388"/>
                  <a:gd name="connsiteY10" fmla="*/ 923925 h 1095375"/>
                  <a:gd name="connsiteX11" fmla="*/ 933260 w 1195388"/>
                  <a:gd name="connsiteY11" fmla="*/ 931069 h 1095375"/>
                  <a:gd name="connsiteX12" fmla="*/ 993971 w 1195388"/>
                  <a:gd name="connsiteY12" fmla="*/ 927497 h 1095375"/>
                  <a:gd name="connsiteX13" fmla="*/ 1006828 w 1195388"/>
                  <a:gd name="connsiteY13" fmla="*/ 929640 h 1095375"/>
                  <a:gd name="connsiteX14" fmla="*/ 1013970 w 1195388"/>
                  <a:gd name="connsiteY14" fmla="*/ 942499 h 1095375"/>
                  <a:gd name="connsiteX15" fmla="*/ 1013970 w 1195388"/>
                  <a:gd name="connsiteY15" fmla="*/ 1063943 h 1095375"/>
                  <a:gd name="connsiteX16" fmla="*/ 1163961 w 1195388"/>
                  <a:gd name="connsiteY16" fmla="*/ 1029653 h 1095375"/>
                  <a:gd name="connsiteX17" fmla="*/ 1163961 w 1195388"/>
                  <a:gd name="connsiteY17" fmla="*/ 1005364 h 1095375"/>
                  <a:gd name="connsiteX18" fmla="*/ 1195388 w 1195388"/>
                  <a:gd name="connsiteY18" fmla="*/ 996077 h 1095375"/>
                  <a:gd name="connsiteX19" fmla="*/ 1195388 w 1195388"/>
                  <a:gd name="connsiteY19" fmla="*/ 1038940 h 1095375"/>
                  <a:gd name="connsiteX20" fmla="*/ 1188246 w 1195388"/>
                  <a:gd name="connsiteY20" fmla="*/ 1052513 h 1095375"/>
                  <a:gd name="connsiteX21" fmla="*/ 1013256 w 1195388"/>
                  <a:gd name="connsiteY21" fmla="*/ 1095375 h 1095375"/>
                  <a:gd name="connsiteX22" fmla="*/ 996828 w 1195388"/>
                  <a:gd name="connsiteY22" fmla="*/ 1094661 h 1095375"/>
                  <a:gd name="connsiteX23" fmla="*/ 982543 w 1195388"/>
                  <a:gd name="connsiteY23" fmla="*/ 1078945 h 1095375"/>
                  <a:gd name="connsiteX24" fmla="*/ 982543 w 1195388"/>
                  <a:gd name="connsiteY24" fmla="*/ 960358 h 1095375"/>
                  <a:gd name="connsiteX25" fmla="*/ 934689 w 1195388"/>
                  <a:gd name="connsiteY25" fmla="*/ 962501 h 1095375"/>
                  <a:gd name="connsiteX26" fmla="*/ 847551 w 1195388"/>
                  <a:gd name="connsiteY26" fmla="*/ 946071 h 1095375"/>
                  <a:gd name="connsiteX27" fmla="*/ 831838 w 1195388"/>
                  <a:gd name="connsiteY27" fmla="*/ 855345 h 1095375"/>
                  <a:gd name="connsiteX28" fmla="*/ 833266 w 1195388"/>
                  <a:gd name="connsiteY28" fmla="*/ 806768 h 1095375"/>
                  <a:gd name="connsiteX29" fmla="*/ 768270 w 1195388"/>
                  <a:gd name="connsiteY29" fmla="*/ 775335 h 1095375"/>
                  <a:gd name="connsiteX30" fmla="*/ 794697 w 1195388"/>
                  <a:gd name="connsiteY30" fmla="*/ 716756 h 1095375"/>
                  <a:gd name="connsiteX31" fmla="*/ 824695 w 1195388"/>
                  <a:gd name="connsiteY31" fmla="*/ 669608 h 1095375"/>
                  <a:gd name="connsiteX32" fmla="*/ 827552 w 1195388"/>
                  <a:gd name="connsiteY32" fmla="*/ 626031 h 1095375"/>
                  <a:gd name="connsiteX33" fmla="*/ 828981 w 1195388"/>
                  <a:gd name="connsiteY33" fmla="*/ 598170 h 1095375"/>
                  <a:gd name="connsiteX34" fmla="*/ 836837 w 1195388"/>
                  <a:gd name="connsiteY34" fmla="*/ 552450 h 1095375"/>
                  <a:gd name="connsiteX35" fmla="*/ 408678 w 1195388"/>
                  <a:gd name="connsiteY35" fmla="*/ 533400 h 1095375"/>
                  <a:gd name="connsiteX36" fmla="*/ 414384 w 1195388"/>
                  <a:gd name="connsiteY36" fmla="*/ 576263 h 1095375"/>
                  <a:gd name="connsiteX37" fmla="*/ 421516 w 1195388"/>
                  <a:gd name="connsiteY37" fmla="*/ 619840 h 1095375"/>
                  <a:gd name="connsiteX38" fmla="*/ 425082 w 1195388"/>
                  <a:gd name="connsiteY38" fmla="*/ 644843 h 1095375"/>
                  <a:gd name="connsiteX39" fmla="*/ 450758 w 1195388"/>
                  <a:gd name="connsiteY39" fmla="*/ 697707 h 1095375"/>
                  <a:gd name="connsiteX40" fmla="*/ 456464 w 1195388"/>
                  <a:gd name="connsiteY40" fmla="*/ 703422 h 1095375"/>
                  <a:gd name="connsiteX41" fmla="*/ 485706 w 1195388"/>
                  <a:gd name="connsiteY41" fmla="*/ 759857 h 1095375"/>
                  <a:gd name="connsiteX42" fmla="*/ 422229 w 1195388"/>
                  <a:gd name="connsiteY42" fmla="*/ 795576 h 1095375"/>
                  <a:gd name="connsiteX43" fmla="*/ 425795 w 1195388"/>
                  <a:gd name="connsiteY43" fmla="*/ 882015 h 1095375"/>
                  <a:gd name="connsiteX44" fmla="*/ 425795 w 1195388"/>
                  <a:gd name="connsiteY44" fmla="*/ 887016 h 1095375"/>
                  <a:gd name="connsiteX45" fmla="*/ 404399 w 1195388"/>
                  <a:gd name="connsiteY45" fmla="*/ 957025 h 1095375"/>
                  <a:gd name="connsiteX46" fmla="*/ 276731 w 1195388"/>
                  <a:gd name="connsiteY46" fmla="*/ 964883 h 1095375"/>
                  <a:gd name="connsiteX47" fmla="*/ 276731 w 1195388"/>
                  <a:gd name="connsiteY47" fmla="*/ 1074897 h 1095375"/>
                  <a:gd name="connsiteX48" fmla="*/ 261040 w 1195388"/>
                  <a:gd name="connsiteY48" fmla="*/ 1090613 h 1095375"/>
                  <a:gd name="connsiteX49" fmla="*/ 260327 w 1195388"/>
                  <a:gd name="connsiteY49" fmla="*/ 1090613 h 1095375"/>
                  <a:gd name="connsiteX50" fmla="*/ 9985 w 1195388"/>
                  <a:gd name="connsiteY50" fmla="*/ 1046322 h 1095375"/>
                  <a:gd name="connsiteX51" fmla="*/ 0 w 1195388"/>
                  <a:gd name="connsiteY51" fmla="*/ 1032034 h 1095375"/>
                  <a:gd name="connsiteX52" fmla="*/ 0 w 1195388"/>
                  <a:gd name="connsiteY52" fmla="*/ 917020 h 1095375"/>
                  <a:gd name="connsiteX53" fmla="*/ 713 w 1195388"/>
                  <a:gd name="connsiteY53" fmla="*/ 917734 h 1095375"/>
                  <a:gd name="connsiteX54" fmla="*/ 31382 w 1195388"/>
                  <a:gd name="connsiteY54" fmla="*/ 940594 h 1095375"/>
                  <a:gd name="connsiteX55" fmla="*/ 31382 w 1195388"/>
                  <a:gd name="connsiteY55" fmla="*/ 1021319 h 1095375"/>
                  <a:gd name="connsiteX56" fmla="*/ 245349 w 1195388"/>
                  <a:gd name="connsiteY56" fmla="*/ 1058466 h 1095375"/>
                  <a:gd name="connsiteX57" fmla="*/ 245349 w 1195388"/>
                  <a:gd name="connsiteY57" fmla="*/ 947024 h 1095375"/>
                  <a:gd name="connsiteX58" fmla="*/ 250342 w 1195388"/>
                  <a:gd name="connsiteY58" fmla="*/ 934879 h 1095375"/>
                  <a:gd name="connsiteX59" fmla="*/ 263180 w 1195388"/>
                  <a:gd name="connsiteY59" fmla="*/ 931307 h 1095375"/>
                  <a:gd name="connsiteX60" fmla="*/ 389421 w 1195388"/>
                  <a:gd name="connsiteY60" fmla="*/ 929879 h 1095375"/>
                  <a:gd name="connsiteX61" fmla="*/ 394413 w 1195388"/>
                  <a:gd name="connsiteY61" fmla="*/ 884873 h 1095375"/>
                  <a:gd name="connsiteX62" fmla="*/ 395127 w 1195388"/>
                  <a:gd name="connsiteY62" fmla="*/ 879872 h 1095375"/>
                  <a:gd name="connsiteX63" fmla="*/ 389421 w 1195388"/>
                  <a:gd name="connsiteY63" fmla="*/ 781288 h 1095375"/>
                  <a:gd name="connsiteX64" fmla="*/ 393700 w 1195388"/>
                  <a:gd name="connsiteY64" fmla="*/ 768430 h 1095375"/>
                  <a:gd name="connsiteX65" fmla="*/ 406538 w 1195388"/>
                  <a:gd name="connsiteY65" fmla="*/ 763429 h 1095375"/>
                  <a:gd name="connsiteX66" fmla="*/ 455038 w 1195388"/>
                  <a:gd name="connsiteY66" fmla="*/ 751285 h 1095375"/>
                  <a:gd name="connsiteX67" fmla="*/ 432928 w 1195388"/>
                  <a:gd name="connsiteY67" fmla="*/ 724853 h 1095375"/>
                  <a:gd name="connsiteX68" fmla="*/ 427222 w 1195388"/>
                  <a:gd name="connsiteY68" fmla="*/ 718423 h 1095375"/>
                  <a:gd name="connsiteX69" fmla="*/ 395127 w 1195388"/>
                  <a:gd name="connsiteY69" fmla="*/ 655558 h 1095375"/>
                  <a:gd name="connsiteX70" fmla="*/ 390134 w 1195388"/>
                  <a:gd name="connsiteY70" fmla="*/ 621983 h 1095375"/>
                  <a:gd name="connsiteX71" fmla="*/ 385142 w 1195388"/>
                  <a:gd name="connsiteY71" fmla="*/ 586264 h 1095375"/>
                  <a:gd name="connsiteX72" fmla="*/ 377296 w 1195388"/>
                  <a:gd name="connsiteY72" fmla="*/ 536258 h 1095375"/>
                  <a:gd name="connsiteX73" fmla="*/ 378009 w 1195388"/>
                  <a:gd name="connsiteY73" fmla="*/ 536258 h 1095375"/>
                  <a:gd name="connsiteX74" fmla="*/ 408678 w 1195388"/>
                  <a:gd name="connsiteY74" fmla="*/ 533400 h 1095375"/>
                  <a:gd name="connsiteX75" fmla="*/ 373698 w 1195388"/>
                  <a:gd name="connsiteY75" fmla="*/ 0 h 1095375"/>
                  <a:gd name="connsiteX76" fmla="*/ 625872 w 1195388"/>
                  <a:gd name="connsiteY76" fmla="*/ 0 h 1095375"/>
                  <a:gd name="connsiteX77" fmla="*/ 641588 w 1195388"/>
                  <a:gd name="connsiteY77" fmla="*/ 3578 h 1095375"/>
                  <a:gd name="connsiteX78" fmla="*/ 650875 w 1195388"/>
                  <a:gd name="connsiteY78" fmla="*/ 9303 h 1095375"/>
                  <a:gd name="connsiteX79" fmla="*/ 645160 w 1195388"/>
                  <a:gd name="connsiteY79" fmla="*/ 11450 h 1095375"/>
                  <a:gd name="connsiteX80" fmla="*/ 606584 w 1195388"/>
                  <a:gd name="connsiteY80" fmla="*/ 59394 h 1095375"/>
                  <a:gd name="connsiteX81" fmla="*/ 385842 w 1195388"/>
                  <a:gd name="connsiteY81" fmla="*/ 59394 h 1095375"/>
                  <a:gd name="connsiteX82" fmla="*/ 385842 w 1195388"/>
                  <a:gd name="connsiteY82" fmla="*/ 80862 h 1095375"/>
                  <a:gd name="connsiteX83" fmla="*/ 605155 w 1195388"/>
                  <a:gd name="connsiteY83" fmla="*/ 80862 h 1095375"/>
                  <a:gd name="connsiteX84" fmla="*/ 605155 w 1195388"/>
                  <a:gd name="connsiteY84" fmla="*/ 104476 h 1095375"/>
                  <a:gd name="connsiteX85" fmla="*/ 385842 w 1195388"/>
                  <a:gd name="connsiteY85" fmla="*/ 104476 h 1095375"/>
                  <a:gd name="connsiteX86" fmla="*/ 385842 w 1195388"/>
                  <a:gd name="connsiteY86" fmla="*/ 125944 h 1095375"/>
                  <a:gd name="connsiteX87" fmla="*/ 605155 w 1195388"/>
                  <a:gd name="connsiteY87" fmla="*/ 125944 h 1095375"/>
                  <a:gd name="connsiteX88" fmla="*/ 605155 w 1195388"/>
                  <a:gd name="connsiteY88" fmla="*/ 148843 h 1095375"/>
                  <a:gd name="connsiteX89" fmla="*/ 385842 w 1195388"/>
                  <a:gd name="connsiteY89" fmla="*/ 148843 h 1095375"/>
                  <a:gd name="connsiteX90" fmla="*/ 385842 w 1195388"/>
                  <a:gd name="connsiteY90" fmla="*/ 171026 h 1095375"/>
                  <a:gd name="connsiteX91" fmla="*/ 605155 w 1195388"/>
                  <a:gd name="connsiteY91" fmla="*/ 171026 h 1095375"/>
                  <a:gd name="connsiteX92" fmla="*/ 605155 w 1195388"/>
                  <a:gd name="connsiteY92" fmla="*/ 234714 h 1095375"/>
                  <a:gd name="connsiteX93" fmla="*/ 536575 w 1195388"/>
                  <a:gd name="connsiteY93" fmla="*/ 234714 h 1095375"/>
                  <a:gd name="connsiteX94" fmla="*/ 457280 w 1195388"/>
                  <a:gd name="connsiteY94" fmla="*/ 319869 h 1095375"/>
                  <a:gd name="connsiteX95" fmla="*/ 445135 w 1195388"/>
                  <a:gd name="connsiteY95" fmla="*/ 327025 h 1095375"/>
                  <a:gd name="connsiteX96" fmla="*/ 436563 w 1195388"/>
                  <a:gd name="connsiteY96" fmla="*/ 319869 h 1095375"/>
                  <a:gd name="connsiteX97" fmla="*/ 436563 w 1195388"/>
                  <a:gd name="connsiteY97" fmla="*/ 234714 h 1095375"/>
                  <a:gd name="connsiteX98" fmla="*/ 373698 w 1195388"/>
                  <a:gd name="connsiteY98" fmla="*/ 234714 h 1095375"/>
                  <a:gd name="connsiteX99" fmla="*/ 336550 w 1195388"/>
                  <a:gd name="connsiteY99" fmla="*/ 197503 h 1095375"/>
                  <a:gd name="connsiteX100" fmla="*/ 336550 w 1195388"/>
                  <a:gd name="connsiteY100" fmla="*/ 37211 h 1095375"/>
                  <a:gd name="connsiteX101" fmla="*/ 373698 w 1195388"/>
                  <a:gd name="connsiteY101"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195388" h="1095375">
                    <a:moveTo>
                      <a:pt x="836837" y="552450"/>
                    </a:moveTo>
                    <a:cubicBezTo>
                      <a:pt x="844694" y="563880"/>
                      <a:pt x="853265" y="575310"/>
                      <a:pt x="861836" y="586026"/>
                    </a:cubicBezTo>
                    <a:cubicBezTo>
                      <a:pt x="861122" y="591741"/>
                      <a:pt x="860407" y="596741"/>
                      <a:pt x="860407" y="600313"/>
                    </a:cubicBezTo>
                    <a:cubicBezTo>
                      <a:pt x="859693" y="607457"/>
                      <a:pt x="858979" y="616744"/>
                      <a:pt x="858979" y="626745"/>
                    </a:cubicBezTo>
                    <a:cubicBezTo>
                      <a:pt x="858265" y="653891"/>
                      <a:pt x="857551" y="671036"/>
                      <a:pt x="853265" y="681038"/>
                    </a:cubicBezTo>
                    <a:cubicBezTo>
                      <a:pt x="850408" y="689610"/>
                      <a:pt x="837552" y="718900"/>
                      <a:pt x="816839" y="738902"/>
                    </a:cubicBezTo>
                    <a:cubicBezTo>
                      <a:pt x="806125" y="748903"/>
                      <a:pt x="800411" y="758905"/>
                      <a:pt x="798982" y="763905"/>
                    </a:cubicBezTo>
                    <a:cubicBezTo>
                      <a:pt x="803982" y="769620"/>
                      <a:pt x="818981" y="778193"/>
                      <a:pt x="848265" y="774621"/>
                    </a:cubicBezTo>
                    <a:cubicBezTo>
                      <a:pt x="852551" y="773906"/>
                      <a:pt x="857551" y="776050"/>
                      <a:pt x="861122" y="778907"/>
                    </a:cubicBezTo>
                    <a:cubicBezTo>
                      <a:pt x="863979" y="782479"/>
                      <a:pt x="866121" y="786765"/>
                      <a:pt x="865407" y="791766"/>
                    </a:cubicBezTo>
                    <a:cubicBezTo>
                      <a:pt x="861122" y="853202"/>
                      <a:pt x="863264" y="913210"/>
                      <a:pt x="870407" y="923925"/>
                    </a:cubicBezTo>
                    <a:cubicBezTo>
                      <a:pt x="871121" y="924640"/>
                      <a:pt x="882549" y="931069"/>
                      <a:pt x="933260" y="931069"/>
                    </a:cubicBezTo>
                    <a:cubicBezTo>
                      <a:pt x="962544" y="930355"/>
                      <a:pt x="989686" y="928211"/>
                      <a:pt x="993971" y="927497"/>
                    </a:cubicBezTo>
                    <a:cubicBezTo>
                      <a:pt x="998257" y="926783"/>
                      <a:pt x="1002542" y="927497"/>
                      <a:pt x="1006828" y="929640"/>
                    </a:cubicBezTo>
                    <a:cubicBezTo>
                      <a:pt x="1011113" y="932498"/>
                      <a:pt x="1013970" y="937498"/>
                      <a:pt x="1013970" y="942499"/>
                    </a:cubicBezTo>
                    <a:cubicBezTo>
                      <a:pt x="1013970" y="1063943"/>
                      <a:pt x="1013970" y="1063943"/>
                      <a:pt x="1013970" y="1063943"/>
                    </a:cubicBezTo>
                    <a:cubicBezTo>
                      <a:pt x="1042540" y="1063228"/>
                      <a:pt x="1109679" y="1059656"/>
                      <a:pt x="1163961" y="1029653"/>
                    </a:cubicBezTo>
                    <a:cubicBezTo>
                      <a:pt x="1163961" y="1005364"/>
                      <a:pt x="1163961" y="1005364"/>
                      <a:pt x="1163961" y="1005364"/>
                    </a:cubicBezTo>
                    <a:cubicBezTo>
                      <a:pt x="1173961" y="1003221"/>
                      <a:pt x="1183960" y="1000363"/>
                      <a:pt x="1195388" y="996077"/>
                    </a:cubicBezTo>
                    <a:cubicBezTo>
                      <a:pt x="1195388" y="1038940"/>
                      <a:pt x="1195388" y="1038940"/>
                      <a:pt x="1195388" y="1038940"/>
                    </a:cubicBezTo>
                    <a:cubicBezTo>
                      <a:pt x="1195388" y="1044655"/>
                      <a:pt x="1192531" y="1049655"/>
                      <a:pt x="1188246" y="1052513"/>
                    </a:cubicBezTo>
                    <a:cubicBezTo>
                      <a:pt x="1124678" y="1091089"/>
                      <a:pt x="1046111" y="1095375"/>
                      <a:pt x="1013256" y="1095375"/>
                    </a:cubicBezTo>
                    <a:cubicBezTo>
                      <a:pt x="1003971" y="1095375"/>
                      <a:pt x="997542" y="1094661"/>
                      <a:pt x="996828" y="1094661"/>
                    </a:cubicBezTo>
                    <a:cubicBezTo>
                      <a:pt x="988257" y="1093946"/>
                      <a:pt x="982543" y="1087517"/>
                      <a:pt x="982543" y="1078945"/>
                    </a:cubicBezTo>
                    <a:cubicBezTo>
                      <a:pt x="982543" y="960358"/>
                      <a:pt x="982543" y="960358"/>
                      <a:pt x="982543" y="960358"/>
                    </a:cubicBezTo>
                    <a:cubicBezTo>
                      <a:pt x="965401" y="961787"/>
                      <a:pt x="943974" y="962501"/>
                      <a:pt x="934689" y="962501"/>
                    </a:cubicBezTo>
                    <a:cubicBezTo>
                      <a:pt x="872550" y="962501"/>
                      <a:pt x="855408" y="953929"/>
                      <a:pt x="847551" y="946071"/>
                    </a:cubicBezTo>
                    <a:cubicBezTo>
                      <a:pt x="839694" y="937498"/>
                      <a:pt x="831838" y="920353"/>
                      <a:pt x="831838" y="855345"/>
                    </a:cubicBezTo>
                    <a:cubicBezTo>
                      <a:pt x="831838" y="836771"/>
                      <a:pt x="832552" y="819626"/>
                      <a:pt x="833266" y="806768"/>
                    </a:cubicBezTo>
                    <a:cubicBezTo>
                      <a:pt x="792554" y="806053"/>
                      <a:pt x="773270" y="786765"/>
                      <a:pt x="768270" y="775335"/>
                    </a:cubicBezTo>
                    <a:cubicBezTo>
                      <a:pt x="760413" y="756761"/>
                      <a:pt x="781126" y="730330"/>
                      <a:pt x="794697" y="716756"/>
                    </a:cubicBezTo>
                    <a:cubicBezTo>
                      <a:pt x="807553" y="703898"/>
                      <a:pt x="818267" y="683895"/>
                      <a:pt x="824695" y="669608"/>
                    </a:cubicBezTo>
                    <a:cubicBezTo>
                      <a:pt x="826838" y="663893"/>
                      <a:pt x="827552" y="640318"/>
                      <a:pt x="827552" y="626031"/>
                    </a:cubicBezTo>
                    <a:cubicBezTo>
                      <a:pt x="827552" y="615315"/>
                      <a:pt x="828266" y="605314"/>
                      <a:pt x="828981" y="598170"/>
                    </a:cubicBezTo>
                    <a:cubicBezTo>
                      <a:pt x="829695" y="585311"/>
                      <a:pt x="833266" y="566738"/>
                      <a:pt x="836837" y="552450"/>
                    </a:cubicBezTo>
                    <a:close/>
                    <a:moveTo>
                      <a:pt x="408678" y="533400"/>
                    </a:moveTo>
                    <a:cubicBezTo>
                      <a:pt x="409391" y="547688"/>
                      <a:pt x="410818" y="565547"/>
                      <a:pt x="414384" y="576263"/>
                    </a:cubicBezTo>
                    <a:cubicBezTo>
                      <a:pt x="418663" y="589836"/>
                      <a:pt x="420090" y="605552"/>
                      <a:pt x="421516" y="619840"/>
                    </a:cubicBezTo>
                    <a:cubicBezTo>
                      <a:pt x="422229" y="629841"/>
                      <a:pt x="422942" y="639842"/>
                      <a:pt x="425082" y="644843"/>
                    </a:cubicBezTo>
                    <a:cubicBezTo>
                      <a:pt x="432928" y="669132"/>
                      <a:pt x="442200" y="688420"/>
                      <a:pt x="450758" y="697707"/>
                    </a:cubicBezTo>
                    <a:cubicBezTo>
                      <a:pt x="452185" y="699135"/>
                      <a:pt x="454324" y="701278"/>
                      <a:pt x="456464" y="703422"/>
                    </a:cubicBezTo>
                    <a:cubicBezTo>
                      <a:pt x="475008" y="723424"/>
                      <a:pt x="492125" y="741998"/>
                      <a:pt x="485706" y="759857"/>
                    </a:cubicBezTo>
                    <a:cubicBezTo>
                      <a:pt x="482853" y="768430"/>
                      <a:pt x="470015" y="794147"/>
                      <a:pt x="422229" y="795576"/>
                    </a:cubicBezTo>
                    <a:cubicBezTo>
                      <a:pt x="424369" y="817722"/>
                      <a:pt x="427222" y="857012"/>
                      <a:pt x="425795" y="882015"/>
                    </a:cubicBezTo>
                    <a:cubicBezTo>
                      <a:pt x="425795" y="882015"/>
                      <a:pt x="425795" y="882015"/>
                      <a:pt x="425795" y="887016"/>
                    </a:cubicBezTo>
                    <a:cubicBezTo>
                      <a:pt x="422942" y="926307"/>
                      <a:pt x="421516" y="948452"/>
                      <a:pt x="404399" y="957025"/>
                    </a:cubicBezTo>
                    <a:cubicBezTo>
                      <a:pt x="390847" y="964883"/>
                      <a:pt x="341635" y="971312"/>
                      <a:pt x="276731" y="964883"/>
                    </a:cubicBezTo>
                    <a:cubicBezTo>
                      <a:pt x="276731" y="964883"/>
                      <a:pt x="276731" y="964883"/>
                      <a:pt x="276731" y="1074897"/>
                    </a:cubicBezTo>
                    <a:cubicBezTo>
                      <a:pt x="276731" y="1083469"/>
                      <a:pt x="269599" y="1089899"/>
                      <a:pt x="261040" y="1090613"/>
                    </a:cubicBezTo>
                    <a:cubicBezTo>
                      <a:pt x="261040" y="1090613"/>
                      <a:pt x="261040" y="1090613"/>
                      <a:pt x="260327" y="1090613"/>
                    </a:cubicBezTo>
                    <a:cubicBezTo>
                      <a:pt x="249628" y="1090613"/>
                      <a:pt x="114829" y="1089184"/>
                      <a:pt x="9985" y="1046322"/>
                    </a:cubicBezTo>
                    <a:cubicBezTo>
                      <a:pt x="3566" y="1044179"/>
                      <a:pt x="0" y="1038464"/>
                      <a:pt x="0" y="1032034"/>
                    </a:cubicBezTo>
                    <a:cubicBezTo>
                      <a:pt x="0" y="1032034"/>
                      <a:pt x="0" y="1032034"/>
                      <a:pt x="0" y="917020"/>
                    </a:cubicBezTo>
                    <a:cubicBezTo>
                      <a:pt x="0" y="917020"/>
                      <a:pt x="0" y="917020"/>
                      <a:pt x="713" y="917734"/>
                    </a:cubicBezTo>
                    <a:cubicBezTo>
                      <a:pt x="4992" y="921306"/>
                      <a:pt x="19970" y="933450"/>
                      <a:pt x="31382" y="940594"/>
                    </a:cubicBezTo>
                    <a:cubicBezTo>
                      <a:pt x="31382" y="940594"/>
                      <a:pt x="31382" y="940594"/>
                      <a:pt x="31382" y="1021319"/>
                    </a:cubicBezTo>
                    <a:cubicBezTo>
                      <a:pt x="110550" y="1051322"/>
                      <a:pt x="207548" y="1057037"/>
                      <a:pt x="245349" y="1058466"/>
                    </a:cubicBezTo>
                    <a:cubicBezTo>
                      <a:pt x="245349" y="1058466"/>
                      <a:pt x="245349" y="1058466"/>
                      <a:pt x="245349" y="947024"/>
                    </a:cubicBezTo>
                    <a:cubicBezTo>
                      <a:pt x="245349" y="942737"/>
                      <a:pt x="246775" y="938451"/>
                      <a:pt x="250342" y="934879"/>
                    </a:cubicBezTo>
                    <a:cubicBezTo>
                      <a:pt x="253908" y="932022"/>
                      <a:pt x="258187" y="930593"/>
                      <a:pt x="263180" y="931307"/>
                    </a:cubicBezTo>
                    <a:cubicBezTo>
                      <a:pt x="332362" y="940594"/>
                      <a:pt x="378723" y="933450"/>
                      <a:pt x="389421" y="929879"/>
                    </a:cubicBezTo>
                    <a:cubicBezTo>
                      <a:pt x="392274" y="924164"/>
                      <a:pt x="392987" y="903447"/>
                      <a:pt x="394413" y="884873"/>
                    </a:cubicBezTo>
                    <a:cubicBezTo>
                      <a:pt x="394413" y="884873"/>
                      <a:pt x="394413" y="884873"/>
                      <a:pt x="395127" y="879872"/>
                    </a:cubicBezTo>
                    <a:cubicBezTo>
                      <a:pt x="397266" y="846297"/>
                      <a:pt x="389421" y="781288"/>
                      <a:pt x="389421" y="781288"/>
                    </a:cubicBezTo>
                    <a:cubicBezTo>
                      <a:pt x="388708" y="776288"/>
                      <a:pt x="390134" y="771287"/>
                      <a:pt x="393700" y="768430"/>
                    </a:cubicBezTo>
                    <a:cubicBezTo>
                      <a:pt x="396553" y="764858"/>
                      <a:pt x="401546" y="762715"/>
                      <a:pt x="406538" y="763429"/>
                    </a:cubicBezTo>
                    <a:cubicBezTo>
                      <a:pt x="437207" y="766287"/>
                      <a:pt x="451471" y="757714"/>
                      <a:pt x="455038" y="751285"/>
                    </a:cubicBezTo>
                    <a:cubicBezTo>
                      <a:pt x="452185" y="744855"/>
                      <a:pt x="439347" y="731997"/>
                      <a:pt x="432928" y="724853"/>
                    </a:cubicBezTo>
                    <a:cubicBezTo>
                      <a:pt x="431501" y="722710"/>
                      <a:pt x="429361" y="720567"/>
                      <a:pt x="427222" y="718423"/>
                    </a:cubicBezTo>
                    <a:cubicBezTo>
                      <a:pt x="413671" y="702707"/>
                      <a:pt x="402259" y="675561"/>
                      <a:pt x="395127" y="655558"/>
                    </a:cubicBezTo>
                    <a:cubicBezTo>
                      <a:pt x="392274" y="646271"/>
                      <a:pt x="391561" y="635556"/>
                      <a:pt x="390134" y="621983"/>
                    </a:cubicBezTo>
                    <a:cubicBezTo>
                      <a:pt x="389421" y="609838"/>
                      <a:pt x="387994" y="596265"/>
                      <a:pt x="385142" y="586264"/>
                    </a:cubicBezTo>
                    <a:cubicBezTo>
                      <a:pt x="380149" y="571976"/>
                      <a:pt x="378009" y="550545"/>
                      <a:pt x="377296" y="536258"/>
                    </a:cubicBezTo>
                    <a:cubicBezTo>
                      <a:pt x="378009" y="536258"/>
                      <a:pt x="378009" y="536258"/>
                      <a:pt x="378009" y="536258"/>
                    </a:cubicBezTo>
                    <a:cubicBezTo>
                      <a:pt x="391561" y="535543"/>
                      <a:pt x="400832" y="535543"/>
                      <a:pt x="408678" y="533400"/>
                    </a:cubicBezTo>
                    <a:close/>
                    <a:moveTo>
                      <a:pt x="373698" y="0"/>
                    </a:moveTo>
                    <a:cubicBezTo>
                      <a:pt x="625872" y="0"/>
                      <a:pt x="625872" y="0"/>
                      <a:pt x="625872" y="0"/>
                    </a:cubicBezTo>
                    <a:cubicBezTo>
                      <a:pt x="631587" y="0"/>
                      <a:pt x="636588" y="1431"/>
                      <a:pt x="641588" y="3578"/>
                    </a:cubicBezTo>
                    <a:cubicBezTo>
                      <a:pt x="644446" y="5009"/>
                      <a:pt x="648018" y="7156"/>
                      <a:pt x="650875" y="9303"/>
                    </a:cubicBezTo>
                    <a:cubicBezTo>
                      <a:pt x="648732" y="10018"/>
                      <a:pt x="646589" y="10734"/>
                      <a:pt x="645160" y="11450"/>
                    </a:cubicBezTo>
                    <a:cubicBezTo>
                      <a:pt x="625158" y="20752"/>
                      <a:pt x="610870" y="37926"/>
                      <a:pt x="606584" y="59394"/>
                    </a:cubicBezTo>
                    <a:cubicBezTo>
                      <a:pt x="385842" y="59394"/>
                      <a:pt x="385842" y="59394"/>
                      <a:pt x="385842" y="59394"/>
                    </a:cubicBezTo>
                    <a:cubicBezTo>
                      <a:pt x="385842" y="80862"/>
                      <a:pt x="385842" y="80862"/>
                      <a:pt x="385842" y="80862"/>
                    </a:cubicBezTo>
                    <a:cubicBezTo>
                      <a:pt x="528717" y="80862"/>
                      <a:pt x="583724" y="80862"/>
                      <a:pt x="605155" y="80862"/>
                    </a:cubicBezTo>
                    <a:cubicBezTo>
                      <a:pt x="605155" y="80862"/>
                      <a:pt x="605155" y="80862"/>
                      <a:pt x="605155" y="104476"/>
                    </a:cubicBezTo>
                    <a:cubicBezTo>
                      <a:pt x="385842" y="104476"/>
                      <a:pt x="385842" y="104476"/>
                      <a:pt x="385842" y="104476"/>
                    </a:cubicBezTo>
                    <a:cubicBezTo>
                      <a:pt x="385842" y="125944"/>
                      <a:pt x="385842" y="125944"/>
                      <a:pt x="385842" y="125944"/>
                    </a:cubicBezTo>
                    <a:cubicBezTo>
                      <a:pt x="528717" y="125944"/>
                      <a:pt x="583724" y="125944"/>
                      <a:pt x="605155" y="125944"/>
                    </a:cubicBezTo>
                    <a:cubicBezTo>
                      <a:pt x="605155" y="125944"/>
                      <a:pt x="605155" y="125944"/>
                      <a:pt x="605155" y="148843"/>
                    </a:cubicBezTo>
                    <a:cubicBezTo>
                      <a:pt x="385842" y="148843"/>
                      <a:pt x="385842" y="148843"/>
                      <a:pt x="385842" y="148843"/>
                    </a:cubicBezTo>
                    <a:cubicBezTo>
                      <a:pt x="385842" y="171026"/>
                      <a:pt x="385842" y="171026"/>
                      <a:pt x="385842" y="171026"/>
                    </a:cubicBezTo>
                    <a:cubicBezTo>
                      <a:pt x="528717" y="171026"/>
                      <a:pt x="583724" y="171026"/>
                      <a:pt x="605155" y="171026"/>
                    </a:cubicBezTo>
                    <a:cubicBezTo>
                      <a:pt x="605155" y="171026"/>
                      <a:pt x="605155" y="171026"/>
                      <a:pt x="605155" y="234714"/>
                    </a:cubicBezTo>
                    <a:cubicBezTo>
                      <a:pt x="536575" y="234714"/>
                      <a:pt x="536575" y="234714"/>
                      <a:pt x="536575" y="234714"/>
                    </a:cubicBezTo>
                    <a:cubicBezTo>
                      <a:pt x="504428" y="266916"/>
                      <a:pt x="467995" y="309135"/>
                      <a:pt x="457280" y="319869"/>
                    </a:cubicBezTo>
                    <a:cubicBezTo>
                      <a:pt x="452279" y="324878"/>
                      <a:pt x="447993" y="327025"/>
                      <a:pt x="445135" y="327025"/>
                    </a:cubicBezTo>
                    <a:cubicBezTo>
                      <a:pt x="438706" y="327025"/>
                      <a:pt x="436563" y="319869"/>
                      <a:pt x="436563" y="319869"/>
                    </a:cubicBezTo>
                    <a:cubicBezTo>
                      <a:pt x="436563" y="234714"/>
                      <a:pt x="436563" y="234714"/>
                      <a:pt x="436563" y="234714"/>
                    </a:cubicBezTo>
                    <a:cubicBezTo>
                      <a:pt x="373698" y="234714"/>
                      <a:pt x="373698" y="234714"/>
                      <a:pt x="373698" y="234714"/>
                    </a:cubicBezTo>
                    <a:cubicBezTo>
                      <a:pt x="352981" y="234714"/>
                      <a:pt x="336550" y="218255"/>
                      <a:pt x="336550" y="197503"/>
                    </a:cubicBezTo>
                    <a:cubicBezTo>
                      <a:pt x="336550" y="37211"/>
                      <a:pt x="336550" y="37211"/>
                      <a:pt x="336550" y="37211"/>
                    </a:cubicBezTo>
                    <a:cubicBezTo>
                      <a:pt x="336550" y="16459"/>
                      <a:pt x="352981" y="0"/>
                      <a:pt x="3736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0" name="Freeform 49"/>
              <p:cNvSpPr/>
              <p:nvPr/>
            </p:nvSpPr>
            <p:spPr>
              <a:xfrm>
                <a:off x="5344772" y="2919413"/>
                <a:ext cx="1503994" cy="942160"/>
              </a:xfrm>
              <a:custGeom>
                <a:avLst/>
                <a:gdLst>
                  <a:gd name="connsiteX0" fmla="*/ 1186866 w 1503994"/>
                  <a:gd name="connsiteY0" fmla="*/ 354013 h 942160"/>
                  <a:gd name="connsiteX1" fmla="*/ 1459790 w 1503994"/>
                  <a:gd name="connsiteY1" fmla="*/ 509603 h 942160"/>
                  <a:gd name="connsiteX2" fmla="*/ 1245452 w 1503994"/>
                  <a:gd name="connsiteY2" fmla="*/ 940688 h 942160"/>
                  <a:gd name="connsiteX3" fmla="*/ 1324757 w 1503994"/>
                  <a:gd name="connsiteY3" fmla="*/ 756549 h 942160"/>
                  <a:gd name="connsiteX4" fmla="*/ 956811 w 1503994"/>
                  <a:gd name="connsiteY4" fmla="*/ 465353 h 942160"/>
                  <a:gd name="connsiteX5" fmla="*/ 1186866 w 1503994"/>
                  <a:gd name="connsiteY5" fmla="*/ 354013 h 942160"/>
                  <a:gd name="connsiteX6" fmla="*/ 285089 w 1503994"/>
                  <a:gd name="connsiteY6" fmla="*/ 333375 h 942160"/>
                  <a:gd name="connsiteX7" fmla="*/ 562613 w 1503994"/>
                  <a:gd name="connsiteY7" fmla="*/ 374796 h 942160"/>
                  <a:gd name="connsiteX8" fmla="*/ 522558 w 1503994"/>
                  <a:gd name="connsiteY8" fmla="*/ 464066 h 942160"/>
                  <a:gd name="connsiteX9" fmla="*/ 520412 w 1503994"/>
                  <a:gd name="connsiteY9" fmla="*/ 466209 h 942160"/>
                  <a:gd name="connsiteX10" fmla="*/ 336588 w 1503994"/>
                  <a:gd name="connsiteY10" fmla="*/ 508344 h 942160"/>
                  <a:gd name="connsiteX11" fmla="*/ 273645 w 1503994"/>
                  <a:gd name="connsiteY11" fmla="*/ 647605 h 942160"/>
                  <a:gd name="connsiteX12" fmla="*/ 229298 w 1503994"/>
                  <a:gd name="connsiteY12" fmla="*/ 651176 h 942160"/>
                  <a:gd name="connsiteX13" fmla="*/ 226437 w 1503994"/>
                  <a:gd name="connsiteY13" fmla="*/ 649034 h 942160"/>
                  <a:gd name="connsiteX14" fmla="*/ 141320 w 1503994"/>
                  <a:gd name="connsiteY14" fmla="*/ 574761 h 942160"/>
                  <a:gd name="connsiteX15" fmla="*/ 140605 w 1503994"/>
                  <a:gd name="connsiteY15" fmla="*/ 736875 h 942160"/>
                  <a:gd name="connsiteX16" fmla="*/ 141320 w 1503994"/>
                  <a:gd name="connsiteY16" fmla="*/ 737590 h 942160"/>
                  <a:gd name="connsiteX17" fmla="*/ 141320 w 1503994"/>
                  <a:gd name="connsiteY17" fmla="*/ 856854 h 942160"/>
                  <a:gd name="connsiteX18" fmla="*/ 137029 w 1503994"/>
                  <a:gd name="connsiteY18" fmla="*/ 858997 h 942160"/>
                  <a:gd name="connsiteX19" fmla="*/ 20440 w 1503994"/>
                  <a:gd name="connsiteY19" fmla="*/ 502631 h 942160"/>
                  <a:gd name="connsiteX20" fmla="*/ 285089 w 1503994"/>
                  <a:gd name="connsiteY20" fmla="*/ 333375 h 942160"/>
                  <a:gd name="connsiteX21" fmla="*/ 795678 w 1503994"/>
                  <a:gd name="connsiteY21" fmla="*/ 149225 h 942160"/>
                  <a:gd name="connsiteX22" fmla="*/ 795678 w 1503994"/>
                  <a:gd name="connsiteY22" fmla="*/ 171450 h 942160"/>
                  <a:gd name="connsiteX23" fmla="*/ 1030628 w 1503994"/>
                  <a:gd name="connsiteY23" fmla="*/ 171450 h 942160"/>
                  <a:gd name="connsiteX24" fmla="*/ 1030628 w 1503994"/>
                  <a:gd name="connsiteY24" fmla="*/ 149225 h 942160"/>
                  <a:gd name="connsiteX25" fmla="*/ 795678 w 1503994"/>
                  <a:gd name="connsiteY25" fmla="*/ 149225 h 942160"/>
                  <a:gd name="connsiteX26" fmla="*/ 795678 w 1503994"/>
                  <a:gd name="connsiteY26" fmla="*/ 104775 h 942160"/>
                  <a:gd name="connsiteX27" fmla="*/ 795678 w 1503994"/>
                  <a:gd name="connsiteY27" fmla="*/ 127000 h 942160"/>
                  <a:gd name="connsiteX28" fmla="*/ 1030628 w 1503994"/>
                  <a:gd name="connsiteY28" fmla="*/ 127000 h 942160"/>
                  <a:gd name="connsiteX29" fmla="*/ 1030628 w 1503994"/>
                  <a:gd name="connsiteY29" fmla="*/ 104775 h 942160"/>
                  <a:gd name="connsiteX30" fmla="*/ 795678 w 1503994"/>
                  <a:gd name="connsiteY30" fmla="*/ 104775 h 942160"/>
                  <a:gd name="connsiteX31" fmla="*/ 795678 w 1503994"/>
                  <a:gd name="connsiteY31" fmla="*/ 60325 h 942160"/>
                  <a:gd name="connsiteX32" fmla="*/ 795678 w 1503994"/>
                  <a:gd name="connsiteY32" fmla="*/ 80963 h 942160"/>
                  <a:gd name="connsiteX33" fmla="*/ 1030628 w 1503994"/>
                  <a:gd name="connsiteY33" fmla="*/ 80963 h 942160"/>
                  <a:gd name="connsiteX34" fmla="*/ 1030628 w 1503994"/>
                  <a:gd name="connsiteY34" fmla="*/ 60325 h 942160"/>
                  <a:gd name="connsiteX35" fmla="*/ 795678 w 1503994"/>
                  <a:gd name="connsiteY35" fmla="*/ 60325 h 942160"/>
                  <a:gd name="connsiteX36" fmla="*/ 788674 w 1503994"/>
                  <a:gd name="connsiteY36" fmla="*/ 0 h 942160"/>
                  <a:gd name="connsiteX37" fmla="*/ 1042549 w 1503994"/>
                  <a:gd name="connsiteY37" fmla="*/ 0 h 942160"/>
                  <a:gd name="connsiteX38" fmla="*/ 1079841 w 1503994"/>
                  <a:gd name="connsiteY38" fmla="*/ 37130 h 942160"/>
                  <a:gd name="connsiteX39" fmla="*/ 1079841 w 1503994"/>
                  <a:gd name="connsiteY39" fmla="*/ 197786 h 942160"/>
                  <a:gd name="connsiteX40" fmla="*/ 1042549 w 1503994"/>
                  <a:gd name="connsiteY40" fmla="*/ 234915 h 942160"/>
                  <a:gd name="connsiteX41" fmla="*/ 978722 w 1503994"/>
                  <a:gd name="connsiteY41" fmla="*/ 234915 h 942160"/>
                  <a:gd name="connsiteX42" fmla="*/ 978722 w 1503994"/>
                  <a:gd name="connsiteY42" fmla="*/ 320599 h 942160"/>
                  <a:gd name="connsiteX43" fmla="*/ 970116 w 1503994"/>
                  <a:gd name="connsiteY43" fmla="*/ 327025 h 942160"/>
                  <a:gd name="connsiteX44" fmla="*/ 957924 w 1503994"/>
                  <a:gd name="connsiteY44" fmla="*/ 320599 h 942160"/>
                  <a:gd name="connsiteX45" fmla="*/ 878319 w 1503994"/>
                  <a:gd name="connsiteY45" fmla="*/ 234915 h 942160"/>
                  <a:gd name="connsiteX46" fmla="*/ 788674 w 1503994"/>
                  <a:gd name="connsiteY46" fmla="*/ 234915 h 942160"/>
                  <a:gd name="connsiteX47" fmla="*/ 752816 w 1503994"/>
                  <a:gd name="connsiteY47" fmla="*/ 197786 h 942160"/>
                  <a:gd name="connsiteX48" fmla="*/ 752816 w 1503994"/>
                  <a:gd name="connsiteY48" fmla="*/ 37130 h 942160"/>
                  <a:gd name="connsiteX49" fmla="*/ 773614 w 1503994"/>
                  <a:gd name="connsiteY49" fmla="*/ 3570 h 942160"/>
                  <a:gd name="connsiteX50" fmla="*/ 788674 w 1503994"/>
                  <a:gd name="connsiteY50" fmla="*/ 0 h 94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503994" h="942160">
                    <a:moveTo>
                      <a:pt x="1186866" y="354013"/>
                    </a:moveTo>
                    <a:cubicBezTo>
                      <a:pt x="1334045" y="354013"/>
                      <a:pt x="1422638" y="433236"/>
                      <a:pt x="1459790" y="509603"/>
                    </a:cubicBezTo>
                    <a:cubicBezTo>
                      <a:pt x="1629116" y="859324"/>
                      <a:pt x="1258312" y="955676"/>
                      <a:pt x="1245452" y="940688"/>
                    </a:cubicBezTo>
                    <a:cubicBezTo>
                      <a:pt x="1232592" y="925700"/>
                      <a:pt x="1364767" y="849332"/>
                      <a:pt x="1324757" y="756549"/>
                    </a:cubicBezTo>
                    <a:cubicBezTo>
                      <a:pt x="1324757" y="756549"/>
                      <a:pt x="1060407" y="651633"/>
                      <a:pt x="956811" y="465353"/>
                    </a:cubicBezTo>
                    <a:cubicBezTo>
                      <a:pt x="949666" y="430381"/>
                      <a:pt x="1018969" y="354013"/>
                      <a:pt x="1186866" y="354013"/>
                    </a:cubicBezTo>
                    <a:close/>
                    <a:moveTo>
                      <a:pt x="285089" y="333375"/>
                    </a:moveTo>
                    <a:cubicBezTo>
                      <a:pt x="458184" y="333375"/>
                      <a:pt x="401678" y="377653"/>
                      <a:pt x="562613" y="374796"/>
                    </a:cubicBezTo>
                    <a:cubicBezTo>
                      <a:pt x="579779" y="374796"/>
                      <a:pt x="530426" y="428358"/>
                      <a:pt x="522558" y="464066"/>
                    </a:cubicBezTo>
                    <a:cubicBezTo>
                      <a:pt x="521843" y="464781"/>
                      <a:pt x="521127" y="465495"/>
                      <a:pt x="520412" y="466209"/>
                    </a:cubicBezTo>
                    <a:cubicBezTo>
                      <a:pt x="502530" y="471922"/>
                      <a:pt x="403108" y="459781"/>
                      <a:pt x="336588" y="508344"/>
                    </a:cubicBezTo>
                    <a:cubicBezTo>
                      <a:pt x="300825" y="534054"/>
                      <a:pt x="273645" y="575475"/>
                      <a:pt x="273645" y="647605"/>
                    </a:cubicBezTo>
                    <a:cubicBezTo>
                      <a:pt x="273645" y="656890"/>
                      <a:pt x="237881" y="652605"/>
                      <a:pt x="229298" y="651176"/>
                    </a:cubicBezTo>
                    <a:cubicBezTo>
                      <a:pt x="227868" y="651176"/>
                      <a:pt x="227152" y="650462"/>
                      <a:pt x="226437" y="649034"/>
                    </a:cubicBezTo>
                    <a:cubicBezTo>
                      <a:pt x="225007" y="634751"/>
                      <a:pt x="207840" y="539767"/>
                      <a:pt x="141320" y="574761"/>
                    </a:cubicBezTo>
                    <a:cubicBezTo>
                      <a:pt x="78377" y="606898"/>
                      <a:pt x="136313" y="727591"/>
                      <a:pt x="140605" y="736875"/>
                    </a:cubicBezTo>
                    <a:cubicBezTo>
                      <a:pt x="141320" y="736875"/>
                      <a:pt x="141320" y="736875"/>
                      <a:pt x="141320" y="737590"/>
                    </a:cubicBezTo>
                    <a:cubicBezTo>
                      <a:pt x="141320" y="856854"/>
                      <a:pt x="141320" y="856854"/>
                      <a:pt x="141320" y="856854"/>
                    </a:cubicBezTo>
                    <a:cubicBezTo>
                      <a:pt x="141320" y="858997"/>
                      <a:pt x="138459" y="860425"/>
                      <a:pt x="137029" y="858997"/>
                    </a:cubicBezTo>
                    <a:cubicBezTo>
                      <a:pt x="107703" y="831859"/>
                      <a:pt x="-56809" y="667602"/>
                      <a:pt x="20440" y="502631"/>
                    </a:cubicBezTo>
                    <a:cubicBezTo>
                      <a:pt x="57634" y="424073"/>
                      <a:pt x="133452" y="333375"/>
                      <a:pt x="285089" y="333375"/>
                    </a:cubicBezTo>
                    <a:close/>
                    <a:moveTo>
                      <a:pt x="795678" y="149225"/>
                    </a:moveTo>
                    <a:cubicBezTo>
                      <a:pt x="795678" y="171450"/>
                      <a:pt x="795678" y="171450"/>
                      <a:pt x="795678" y="171450"/>
                    </a:cubicBezTo>
                    <a:cubicBezTo>
                      <a:pt x="795678" y="171450"/>
                      <a:pt x="795678" y="171450"/>
                      <a:pt x="1030628" y="171450"/>
                    </a:cubicBezTo>
                    <a:cubicBezTo>
                      <a:pt x="1030628" y="171450"/>
                      <a:pt x="1030628" y="171450"/>
                      <a:pt x="1030628" y="149225"/>
                    </a:cubicBezTo>
                    <a:cubicBezTo>
                      <a:pt x="1030628" y="149225"/>
                      <a:pt x="1030628" y="149225"/>
                      <a:pt x="795678" y="149225"/>
                    </a:cubicBezTo>
                    <a:close/>
                    <a:moveTo>
                      <a:pt x="795678" y="104775"/>
                    </a:moveTo>
                    <a:cubicBezTo>
                      <a:pt x="795678" y="127000"/>
                      <a:pt x="795678" y="127000"/>
                      <a:pt x="795678" y="127000"/>
                    </a:cubicBezTo>
                    <a:cubicBezTo>
                      <a:pt x="795678" y="127000"/>
                      <a:pt x="795678" y="127000"/>
                      <a:pt x="1030628" y="127000"/>
                    </a:cubicBezTo>
                    <a:cubicBezTo>
                      <a:pt x="1030628" y="127000"/>
                      <a:pt x="1030628" y="127000"/>
                      <a:pt x="1030628" y="104775"/>
                    </a:cubicBezTo>
                    <a:cubicBezTo>
                      <a:pt x="1030628" y="104775"/>
                      <a:pt x="1030628" y="104775"/>
                      <a:pt x="795678" y="104775"/>
                    </a:cubicBezTo>
                    <a:close/>
                    <a:moveTo>
                      <a:pt x="795678" y="60325"/>
                    </a:moveTo>
                    <a:cubicBezTo>
                      <a:pt x="795678" y="80963"/>
                      <a:pt x="795678" y="80963"/>
                      <a:pt x="795678" y="80963"/>
                    </a:cubicBezTo>
                    <a:cubicBezTo>
                      <a:pt x="795678" y="80963"/>
                      <a:pt x="795678" y="80963"/>
                      <a:pt x="1030628" y="80963"/>
                    </a:cubicBezTo>
                    <a:cubicBezTo>
                      <a:pt x="1030628" y="80963"/>
                      <a:pt x="1030628" y="80963"/>
                      <a:pt x="1030628" y="60325"/>
                    </a:cubicBezTo>
                    <a:cubicBezTo>
                      <a:pt x="1030628" y="60325"/>
                      <a:pt x="1030628" y="60325"/>
                      <a:pt x="795678" y="60325"/>
                    </a:cubicBezTo>
                    <a:close/>
                    <a:moveTo>
                      <a:pt x="788674" y="0"/>
                    </a:moveTo>
                    <a:cubicBezTo>
                      <a:pt x="788674" y="0"/>
                      <a:pt x="788674" y="0"/>
                      <a:pt x="1042549" y="0"/>
                    </a:cubicBezTo>
                    <a:cubicBezTo>
                      <a:pt x="1063347" y="0"/>
                      <a:pt x="1079841" y="16423"/>
                      <a:pt x="1079841" y="37130"/>
                    </a:cubicBezTo>
                    <a:cubicBezTo>
                      <a:pt x="1079841" y="37130"/>
                      <a:pt x="1079841" y="37130"/>
                      <a:pt x="1079841" y="197786"/>
                    </a:cubicBezTo>
                    <a:cubicBezTo>
                      <a:pt x="1079841" y="218493"/>
                      <a:pt x="1063347" y="234915"/>
                      <a:pt x="1042549" y="234915"/>
                    </a:cubicBezTo>
                    <a:cubicBezTo>
                      <a:pt x="1042549" y="234915"/>
                      <a:pt x="1042549" y="234915"/>
                      <a:pt x="978722" y="234915"/>
                    </a:cubicBezTo>
                    <a:cubicBezTo>
                      <a:pt x="978722" y="234915"/>
                      <a:pt x="978722" y="234915"/>
                      <a:pt x="978722" y="320599"/>
                    </a:cubicBezTo>
                    <a:cubicBezTo>
                      <a:pt x="978722" y="320599"/>
                      <a:pt x="976570" y="327025"/>
                      <a:pt x="970116" y="327025"/>
                    </a:cubicBezTo>
                    <a:cubicBezTo>
                      <a:pt x="967247" y="327025"/>
                      <a:pt x="962944" y="325597"/>
                      <a:pt x="957924" y="320599"/>
                    </a:cubicBezTo>
                    <a:cubicBezTo>
                      <a:pt x="947167" y="309174"/>
                      <a:pt x="910591" y="267047"/>
                      <a:pt x="878319" y="234915"/>
                    </a:cubicBezTo>
                    <a:cubicBezTo>
                      <a:pt x="878319" y="234915"/>
                      <a:pt x="878319" y="234915"/>
                      <a:pt x="788674" y="234915"/>
                    </a:cubicBezTo>
                    <a:cubicBezTo>
                      <a:pt x="768594" y="234915"/>
                      <a:pt x="752816" y="218493"/>
                      <a:pt x="752816" y="197786"/>
                    </a:cubicBezTo>
                    <a:cubicBezTo>
                      <a:pt x="752816" y="197786"/>
                      <a:pt x="752816" y="197786"/>
                      <a:pt x="752816" y="37130"/>
                    </a:cubicBezTo>
                    <a:cubicBezTo>
                      <a:pt x="752816" y="21421"/>
                      <a:pt x="761422" y="9282"/>
                      <a:pt x="773614" y="3570"/>
                    </a:cubicBezTo>
                    <a:cubicBezTo>
                      <a:pt x="778634" y="1428"/>
                      <a:pt x="783654" y="0"/>
                      <a:pt x="788674" y="0"/>
                    </a:cubicBez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grpSp>
      <p:grpSp>
        <p:nvGrpSpPr>
          <p:cNvPr id="51" name="bcgIcons_BusinessModels">
            <a:extLst>
              <a:ext uri="{FF2B5EF4-FFF2-40B4-BE49-F238E27FC236}">
                <a16:creationId xmlns="" xmlns:a16="http://schemas.microsoft.com/office/drawing/2014/main" id="{E3D8004E-E2D5-4723-97DB-B82604981907}"/>
              </a:ext>
            </a:extLst>
          </p:cNvPr>
          <p:cNvGrpSpPr>
            <a:grpSpLocks noChangeAspect="1"/>
          </p:cNvGrpSpPr>
          <p:nvPr/>
        </p:nvGrpSpPr>
        <p:grpSpPr bwMode="auto">
          <a:xfrm>
            <a:off x="5511317" y="2311414"/>
            <a:ext cx="1014891" cy="1015831"/>
            <a:chOff x="1682" y="0"/>
            <a:chExt cx="4316" cy="4320"/>
          </a:xfrm>
        </p:grpSpPr>
        <p:sp>
          <p:nvSpPr>
            <p:cNvPr id="52" name="AutoShape 3">
              <a:extLst>
                <a:ext uri="{FF2B5EF4-FFF2-40B4-BE49-F238E27FC236}">
                  <a16:creationId xmlns="" xmlns:a16="http://schemas.microsoft.com/office/drawing/2014/main" id="{5CBAB585-11B8-4110-BA84-4F4A75260F5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3" name="Freeform 52">
              <a:extLst>
                <a:ext uri="{FF2B5EF4-FFF2-40B4-BE49-F238E27FC236}">
                  <a16:creationId xmlns="" xmlns:a16="http://schemas.microsoft.com/office/drawing/2014/main" id="{343E3512-7A99-4F4C-912D-C129915DB069}"/>
                </a:ext>
              </a:extLst>
            </p:cNvPr>
            <p:cNvSpPr>
              <a:spLocks noEditPoints="1"/>
            </p:cNvSpPr>
            <p:nvPr/>
          </p:nvSpPr>
          <p:spPr bwMode="auto">
            <a:xfrm>
              <a:off x="2609" y="1147"/>
              <a:ext cx="2458" cy="233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54" name="Freeform 53">
              <a:extLst>
                <a:ext uri="{FF2B5EF4-FFF2-40B4-BE49-F238E27FC236}">
                  <a16:creationId xmlns="" xmlns:a16="http://schemas.microsoft.com/office/drawing/2014/main" id="{D31E9B9D-C13F-460E-98C8-5BE093CCD909}"/>
                </a:ext>
              </a:extLst>
            </p:cNvPr>
            <p:cNvSpPr>
              <a:spLocks noEditPoints="1"/>
            </p:cNvSpPr>
            <p:nvPr/>
          </p:nvSpPr>
          <p:spPr bwMode="auto">
            <a:xfrm>
              <a:off x="2100" y="442"/>
              <a:ext cx="3476" cy="343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nvGrpSpPr>
          <p:cNvPr id="55" name="Group 54"/>
          <p:cNvGrpSpPr>
            <a:grpSpLocks noChangeAspect="1"/>
          </p:cNvGrpSpPr>
          <p:nvPr/>
        </p:nvGrpSpPr>
        <p:grpSpPr>
          <a:xfrm>
            <a:off x="9428838" y="2277458"/>
            <a:ext cx="1041939" cy="1042905"/>
            <a:chOff x="5273801" y="2606040"/>
            <a:chExt cx="1644396" cy="1645920"/>
          </a:xfrm>
        </p:grpSpPr>
        <p:sp>
          <p:nvSpPr>
            <p:cNvPr id="56" name="AutoShape 28">
              <a:extLst>
                <a:ext uri="{FF2B5EF4-FFF2-40B4-BE49-F238E27FC236}">
                  <a16:creationId xmlns="" xmlns:a16="http://schemas.microsoft.com/office/drawing/2014/main" id="{8CE1CC55-D228-43CD-8CDC-860EA3793657}"/>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7" name="Group 56"/>
            <p:cNvGrpSpPr/>
            <p:nvPr/>
          </p:nvGrpSpPr>
          <p:grpSpPr>
            <a:xfrm>
              <a:off x="5451347" y="2803779"/>
              <a:ext cx="1289304" cy="1200912"/>
              <a:chOff x="5451347" y="2803779"/>
              <a:chExt cx="1289304" cy="1200912"/>
            </a:xfrm>
          </p:grpSpPr>
          <p:sp>
            <p:nvSpPr>
              <p:cNvPr id="58" name="Freeform 30">
                <a:extLst>
                  <a:ext uri="{FF2B5EF4-FFF2-40B4-BE49-F238E27FC236}">
                    <a16:creationId xmlns="" xmlns:a16="http://schemas.microsoft.com/office/drawing/2014/main" id="{E6E19B8E-F8FC-4CE8-B790-38C265EDA51A}"/>
                  </a:ext>
                </a:extLst>
              </p:cNvPr>
              <p:cNvSpPr>
                <a:spLocks noEditPoints="1"/>
              </p:cNvSpPr>
              <p:nvPr/>
            </p:nvSpPr>
            <p:spPr bwMode="auto">
              <a:xfrm>
                <a:off x="5710427" y="2803779"/>
                <a:ext cx="771144" cy="893826"/>
              </a:xfrm>
              <a:custGeom>
                <a:avLst/>
                <a:gdLst>
                  <a:gd name="T0" fmla="*/ 232 w 1080"/>
                  <a:gd name="T1" fmla="*/ 1237 h 1251"/>
                  <a:gd name="T2" fmla="*/ 0 w 1080"/>
                  <a:gd name="T3" fmla="*/ 1153 h 1251"/>
                  <a:gd name="T4" fmla="*/ 114 w 1080"/>
                  <a:gd name="T5" fmla="*/ 905 h 1251"/>
                  <a:gd name="T6" fmla="*/ 148 w 1080"/>
                  <a:gd name="T7" fmla="*/ 984 h 1251"/>
                  <a:gd name="T8" fmla="*/ 232 w 1080"/>
                  <a:gd name="T9" fmla="*/ 1149 h 1251"/>
                  <a:gd name="T10" fmla="*/ 232 w 1080"/>
                  <a:gd name="T11" fmla="*/ 1237 h 1251"/>
                  <a:gd name="T12" fmla="*/ 1014 w 1080"/>
                  <a:gd name="T13" fmla="*/ 481 h 1251"/>
                  <a:gd name="T14" fmla="*/ 540 w 1080"/>
                  <a:gd name="T15" fmla="*/ 0 h 1251"/>
                  <a:gd name="T16" fmla="*/ 66 w 1080"/>
                  <a:gd name="T17" fmla="*/ 481 h 1251"/>
                  <a:gd name="T18" fmla="*/ 92 w 1080"/>
                  <a:gd name="T19" fmla="*/ 677 h 1251"/>
                  <a:gd name="T20" fmla="*/ 92 w 1080"/>
                  <a:gd name="T21" fmla="*/ 678 h 1251"/>
                  <a:gd name="T22" fmla="*/ 277 w 1080"/>
                  <a:gd name="T23" fmla="*/ 386 h 1251"/>
                  <a:gd name="T24" fmla="*/ 283 w 1080"/>
                  <a:gd name="T25" fmla="*/ 387 h 1251"/>
                  <a:gd name="T26" fmla="*/ 907 w 1080"/>
                  <a:gd name="T27" fmla="*/ 717 h 1251"/>
                  <a:gd name="T28" fmla="*/ 910 w 1080"/>
                  <a:gd name="T29" fmla="*/ 718 h 1251"/>
                  <a:gd name="T30" fmla="*/ 940 w 1080"/>
                  <a:gd name="T31" fmla="*/ 718 h 1251"/>
                  <a:gd name="T32" fmla="*/ 945 w 1080"/>
                  <a:gd name="T33" fmla="*/ 716 h 1251"/>
                  <a:gd name="T34" fmla="*/ 997 w 1080"/>
                  <a:gd name="T35" fmla="*/ 643 h 1251"/>
                  <a:gd name="T36" fmla="*/ 997 w 1080"/>
                  <a:gd name="T37" fmla="*/ 644 h 1251"/>
                  <a:gd name="T38" fmla="*/ 1014 w 1080"/>
                  <a:gd name="T39" fmla="*/ 481 h 1251"/>
                  <a:gd name="T40" fmla="*/ 965 w 1080"/>
                  <a:gd name="T41" fmla="*/ 907 h 1251"/>
                  <a:gd name="T42" fmla="*/ 932 w 1080"/>
                  <a:gd name="T43" fmla="*/ 984 h 1251"/>
                  <a:gd name="T44" fmla="*/ 848 w 1080"/>
                  <a:gd name="T45" fmla="*/ 1149 h 1251"/>
                  <a:gd name="T46" fmla="*/ 848 w 1080"/>
                  <a:gd name="T47" fmla="*/ 1237 h 1251"/>
                  <a:gd name="T48" fmla="*/ 1080 w 1080"/>
                  <a:gd name="T49" fmla="*/ 1153 h 1251"/>
                  <a:gd name="T50" fmla="*/ 965 w 1080"/>
                  <a:gd name="T51" fmla="*/ 907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0" h="1251">
                    <a:moveTo>
                      <a:pt x="232" y="1237"/>
                    </a:moveTo>
                    <a:cubicBezTo>
                      <a:pt x="187" y="1247"/>
                      <a:pt x="97" y="1250"/>
                      <a:pt x="0" y="1153"/>
                    </a:cubicBezTo>
                    <a:cubicBezTo>
                      <a:pt x="103" y="1143"/>
                      <a:pt x="110" y="995"/>
                      <a:pt x="114" y="905"/>
                    </a:cubicBezTo>
                    <a:cubicBezTo>
                      <a:pt x="124" y="928"/>
                      <a:pt x="136" y="956"/>
                      <a:pt x="148" y="984"/>
                    </a:cubicBezTo>
                    <a:cubicBezTo>
                      <a:pt x="188" y="1076"/>
                      <a:pt x="214" y="1123"/>
                      <a:pt x="232" y="1149"/>
                    </a:cubicBezTo>
                    <a:lnTo>
                      <a:pt x="232" y="1237"/>
                    </a:lnTo>
                    <a:close/>
                    <a:moveTo>
                      <a:pt x="1014" y="481"/>
                    </a:moveTo>
                    <a:cubicBezTo>
                      <a:pt x="1014" y="215"/>
                      <a:pt x="808" y="0"/>
                      <a:pt x="540" y="0"/>
                    </a:cubicBezTo>
                    <a:cubicBezTo>
                      <a:pt x="272" y="0"/>
                      <a:pt x="66" y="215"/>
                      <a:pt x="66" y="481"/>
                    </a:cubicBezTo>
                    <a:cubicBezTo>
                      <a:pt x="66" y="540"/>
                      <a:pt x="73" y="625"/>
                      <a:pt x="92" y="677"/>
                    </a:cubicBezTo>
                    <a:cubicBezTo>
                      <a:pt x="92" y="678"/>
                      <a:pt x="92" y="678"/>
                      <a:pt x="92" y="678"/>
                    </a:cubicBezTo>
                    <a:cubicBezTo>
                      <a:pt x="139" y="720"/>
                      <a:pt x="138" y="432"/>
                      <a:pt x="277" y="386"/>
                    </a:cubicBezTo>
                    <a:cubicBezTo>
                      <a:pt x="279" y="386"/>
                      <a:pt x="281" y="386"/>
                      <a:pt x="283" y="387"/>
                    </a:cubicBezTo>
                    <a:cubicBezTo>
                      <a:pt x="907" y="717"/>
                      <a:pt x="907" y="717"/>
                      <a:pt x="907" y="717"/>
                    </a:cubicBezTo>
                    <a:cubicBezTo>
                      <a:pt x="908" y="718"/>
                      <a:pt x="909" y="718"/>
                      <a:pt x="910" y="718"/>
                    </a:cubicBezTo>
                    <a:cubicBezTo>
                      <a:pt x="940" y="718"/>
                      <a:pt x="940" y="718"/>
                      <a:pt x="940" y="718"/>
                    </a:cubicBezTo>
                    <a:cubicBezTo>
                      <a:pt x="942" y="718"/>
                      <a:pt x="944" y="717"/>
                      <a:pt x="945" y="716"/>
                    </a:cubicBezTo>
                    <a:cubicBezTo>
                      <a:pt x="988" y="667"/>
                      <a:pt x="996" y="644"/>
                      <a:pt x="997" y="643"/>
                    </a:cubicBezTo>
                    <a:cubicBezTo>
                      <a:pt x="997" y="643"/>
                      <a:pt x="997" y="643"/>
                      <a:pt x="997" y="644"/>
                    </a:cubicBezTo>
                    <a:cubicBezTo>
                      <a:pt x="1015" y="593"/>
                      <a:pt x="1014" y="538"/>
                      <a:pt x="1014" y="481"/>
                    </a:cubicBezTo>
                    <a:close/>
                    <a:moveTo>
                      <a:pt x="965" y="907"/>
                    </a:moveTo>
                    <a:cubicBezTo>
                      <a:pt x="955" y="930"/>
                      <a:pt x="944" y="957"/>
                      <a:pt x="932" y="984"/>
                    </a:cubicBezTo>
                    <a:cubicBezTo>
                      <a:pt x="892" y="1076"/>
                      <a:pt x="866" y="1123"/>
                      <a:pt x="848" y="1149"/>
                    </a:cubicBezTo>
                    <a:cubicBezTo>
                      <a:pt x="848" y="1237"/>
                      <a:pt x="848" y="1237"/>
                      <a:pt x="848" y="1237"/>
                    </a:cubicBezTo>
                    <a:cubicBezTo>
                      <a:pt x="892" y="1247"/>
                      <a:pt x="982" y="1251"/>
                      <a:pt x="1080" y="1153"/>
                    </a:cubicBezTo>
                    <a:cubicBezTo>
                      <a:pt x="978" y="1143"/>
                      <a:pt x="969" y="997"/>
                      <a:pt x="965" y="9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31">
                <a:extLst>
                  <a:ext uri="{FF2B5EF4-FFF2-40B4-BE49-F238E27FC236}">
                    <a16:creationId xmlns="" xmlns:a16="http://schemas.microsoft.com/office/drawing/2014/main" id="{ECC33EA2-1F57-4988-8629-542D54623BF0}"/>
                  </a:ext>
                </a:extLst>
              </p:cNvPr>
              <p:cNvSpPr>
                <a:spLocks noEditPoints="1"/>
              </p:cNvSpPr>
              <p:nvPr/>
            </p:nvSpPr>
            <p:spPr bwMode="auto">
              <a:xfrm>
                <a:off x="5451347" y="3318129"/>
                <a:ext cx="1289304" cy="686562"/>
              </a:xfrm>
              <a:custGeom>
                <a:avLst/>
                <a:gdLst>
                  <a:gd name="T0" fmla="*/ 722 w 1806"/>
                  <a:gd name="T1" fmla="*/ 961 h 961"/>
                  <a:gd name="T2" fmla="*/ 5 w 1806"/>
                  <a:gd name="T3" fmla="*/ 931 h 961"/>
                  <a:gd name="T4" fmla="*/ 611 w 1806"/>
                  <a:gd name="T5" fmla="*/ 548 h 961"/>
                  <a:gd name="T6" fmla="*/ 863 w 1806"/>
                  <a:gd name="T7" fmla="*/ 836 h 961"/>
                  <a:gd name="T8" fmla="*/ 773 w 1806"/>
                  <a:gd name="T9" fmla="*/ 961 h 961"/>
                  <a:gd name="T10" fmla="*/ 1583 w 1806"/>
                  <a:gd name="T11" fmla="*/ 614 h 961"/>
                  <a:gd name="T12" fmla="*/ 1780 w 1806"/>
                  <a:gd name="T13" fmla="*/ 961 h 961"/>
                  <a:gd name="T14" fmla="*/ 1369 w 1806"/>
                  <a:gd name="T15" fmla="*/ 768 h 961"/>
                  <a:gd name="T16" fmla="*/ 1320 w 1806"/>
                  <a:gd name="T17" fmla="*/ 759 h 961"/>
                  <a:gd name="T18" fmla="*/ 1311 w 1806"/>
                  <a:gd name="T19" fmla="*/ 710 h 961"/>
                  <a:gd name="T20" fmla="*/ 1269 w 1806"/>
                  <a:gd name="T21" fmla="*/ 719 h 961"/>
                  <a:gd name="T22" fmla="*/ 1260 w 1806"/>
                  <a:gd name="T23" fmla="*/ 768 h 961"/>
                  <a:gd name="T24" fmla="*/ 1211 w 1806"/>
                  <a:gd name="T25" fmla="*/ 778 h 961"/>
                  <a:gd name="T26" fmla="*/ 1220 w 1806"/>
                  <a:gd name="T27" fmla="*/ 819 h 961"/>
                  <a:gd name="T28" fmla="*/ 1269 w 1806"/>
                  <a:gd name="T29" fmla="*/ 829 h 961"/>
                  <a:gd name="T30" fmla="*/ 1279 w 1806"/>
                  <a:gd name="T31" fmla="*/ 878 h 961"/>
                  <a:gd name="T32" fmla="*/ 1320 w 1806"/>
                  <a:gd name="T33" fmla="*/ 868 h 961"/>
                  <a:gd name="T34" fmla="*/ 1330 w 1806"/>
                  <a:gd name="T35" fmla="*/ 819 h 961"/>
                  <a:gd name="T36" fmla="*/ 1379 w 1806"/>
                  <a:gd name="T37" fmla="*/ 810 h 961"/>
                  <a:gd name="T38" fmla="*/ 1329 w 1806"/>
                  <a:gd name="T39" fmla="*/ 24 h 961"/>
                  <a:gd name="T40" fmla="*/ 1273 w 1806"/>
                  <a:gd name="T41" fmla="*/ 89 h 961"/>
                  <a:gd name="T42" fmla="*/ 903 w 1806"/>
                  <a:gd name="T43" fmla="*/ 504 h 961"/>
                  <a:gd name="T44" fmla="*/ 533 w 1806"/>
                  <a:gd name="T45" fmla="*/ 89 h 961"/>
                  <a:gd name="T46" fmla="*/ 477 w 1806"/>
                  <a:gd name="T47" fmla="*/ 24 h 961"/>
                  <a:gd name="T48" fmla="*/ 426 w 1806"/>
                  <a:gd name="T49" fmla="*/ 5 h 961"/>
                  <a:gd name="T50" fmla="*/ 639 w 1806"/>
                  <a:gd name="T51" fmla="*/ 414 h 961"/>
                  <a:gd name="T52" fmla="*/ 646 w 1806"/>
                  <a:gd name="T53" fmla="*/ 522 h 961"/>
                  <a:gd name="T54" fmla="*/ 683 w 1806"/>
                  <a:gd name="T55" fmla="*/ 451 h 961"/>
                  <a:gd name="T56" fmla="*/ 1123 w 1806"/>
                  <a:gd name="T57" fmla="*/ 451 h 961"/>
                  <a:gd name="T58" fmla="*/ 1160 w 1806"/>
                  <a:gd name="T59" fmla="*/ 522 h 961"/>
                  <a:gd name="T60" fmla="*/ 1167 w 1806"/>
                  <a:gd name="T61" fmla="*/ 414 h 961"/>
                  <a:gd name="T62" fmla="*/ 1380 w 1806"/>
                  <a:gd name="T63" fmla="*/ 3 h 961"/>
                  <a:gd name="T64" fmla="*/ 1329 w 1806"/>
                  <a:gd name="T6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6" h="961">
                    <a:moveTo>
                      <a:pt x="863" y="836"/>
                    </a:moveTo>
                    <a:cubicBezTo>
                      <a:pt x="722" y="961"/>
                      <a:pt x="722" y="961"/>
                      <a:pt x="722" y="961"/>
                    </a:cubicBezTo>
                    <a:cubicBezTo>
                      <a:pt x="26" y="961"/>
                      <a:pt x="26" y="961"/>
                      <a:pt x="26" y="961"/>
                    </a:cubicBezTo>
                    <a:cubicBezTo>
                      <a:pt x="10" y="961"/>
                      <a:pt x="0" y="945"/>
                      <a:pt x="5" y="931"/>
                    </a:cubicBezTo>
                    <a:cubicBezTo>
                      <a:pt x="33" y="857"/>
                      <a:pt x="113" y="664"/>
                      <a:pt x="223" y="614"/>
                    </a:cubicBezTo>
                    <a:cubicBezTo>
                      <a:pt x="359" y="551"/>
                      <a:pt x="611" y="548"/>
                      <a:pt x="611" y="548"/>
                    </a:cubicBezTo>
                    <a:cubicBezTo>
                      <a:pt x="611" y="548"/>
                      <a:pt x="611" y="548"/>
                      <a:pt x="611" y="548"/>
                    </a:cubicBezTo>
                    <a:lnTo>
                      <a:pt x="863" y="836"/>
                    </a:lnTo>
                    <a:close/>
                    <a:moveTo>
                      <a:pt x="1780" y="961"/>
                    </a:moveTo>
                    <a:cubicBezTo>
                      <a:pt x="773" y="961"/>
                      <a:pt x="773" y="961"/>
                      <a:pt x="773" y="961"/>
                    </a:cubicBezTo>
                    <a:cubicBezTo>
                      <a:pt x="773" y="961"/>
                      <a:pt x="1231" y="549"/>
                      <a:pt x="1232" y="549"/>
                    </a:cubicBezTo>
                    <a:cubicBezTo>
                      <a:pt x="1307" y="552"/>
                      <a:pt x="1479" y="565"/>
                      <a:pt x="1583" y="614"/>
                    </a:cubicBezTo>
                    <a:cubicBezTo>
                      <a:pt x="1693" y="664"/>
                      <a:pt x="1773" y="857"/>
                      <a:pt x="1801" y="931"/>
                    </a:cubicBezTo>
                    <a:cubicBezTo>
                      <a:pt x="1806" y="945"/>
                      <a:pt x="1796" y="961"/>
                      <a:pt x="1780" y="961"/>
                    </a:cubicBezTo>
                    <a:close/>
                    <a:moveTo>
                      <a:pt x="1379" y="778"/>
                    </a:moveTo>
                    <a:cubicBezTo>
                      <a:pt x="1379" y="773"/>
                      <a:pt x="1374" y="768"/>
                      <a:pt x="1369" y="768"/>
                    </a:cubicBezTo>
                    <a:cubicBezTo>
                      <a:pt x="1330" y="768"/>
                      <a:pt x="1330" y="768"/>
                      <a:pt x="1330" y="768"/>
                    </a:cubicBezTo>
                    <a:cubicBezTo>
                      <a:pt x="1324" y="768"/>
                      <a:pt x="1320" y="764"/>
                      <a:pt x="1320" y="759"/>
                    </a:cubicBezTo>
                    <a:cubicBezTo>
                      <a:pt x="1320" y="719"/>
                      <a:pt x="1320" y="719"/>
                      <a:pt x="1320" y="719"/>
                    </a:cubicBezTo>
                    <a:cubicBezTo>
                      <a:pt x="1320" y="714"/>
                      <a:pt x="1316" y="710"/>
                      <a:pt x="1311" y="710"/>
                    </a:cubicBezTo>
                    <a:cubicBezTo>
                      <a:pt x="1279" y="710"/>
                      <a:pt x="1279" y="710"/>
                      <a:pt x="1279" y="710"/>
                    </a:cubicBezTo>
                    <a:cubicBezTo>
                      <a:pt x="1273" y="710"/>
                      <a:pt x="1269" y="714"/>
                      <a:pt x="1269" y="719"/>
                    </a:cubicBezTo>
                    <a:cubicBezTo>
                      <a:pt x="1269" y="759"/>
                      <a:pt x="1269" y="759"/>
                      <a:pt x="1269" y="759"/>
                    </a:cubicBezTo>
                    <a:cubicBezTo>
                      <a:pt x="1269" y="764"/>
                      <a:pt x="1265" y="768"/>
                      <a:pt x="1260" y="768"/>
                    </a:cubicBezTo>
                    <a:cubicBezTo>
                      <a:pt x="1220" y="768"/>
                      <a:pt x="1220" y="768"/>
                      <a:pt x="1220" y="768"/>
                    </a:cubicBezTo>
                    <a:cubicBezTo>
                      <a:pt x="1215" y="768"/>
                      <a:pt x="1211" y="773"/>
                      <a:pt x="1211" y="778"/>
                    </a:cubicBezTo>
                    <a:cubicBezTo>
                      <a:pt x="1211" y="810"/>
                      <a:pt x="1211" y="810"/>
                      <a:pt x="1211" y="810"/>
                    </a:cubicBezTo>
                    <a:cubicBezTo>
                      <a:pt x="1211" y="815"/>
                      <a:pt x="1215" y="819"/>
                      <a:pt x="1220" y="819"/>
                    </a:cubicBezTo>
                    <a:cubicBezTo>
                      <a:pt x="1260" y="819"/>
                      <a:pt x="1260" y="819"/>
                      <a:pt x="1260" y="819"/>
                    </a:cubicBezTo>
                    <a:cubicBezTo>
                      <a:pt x="1265" y="819"/>
                      <a:pt x="1269" y="823"/>
                      <a:pt x="1269" y="829"/>
                    </a:cubicBezTo>
                    <a:cubicBezTo>
                      <a:pt x="1269" y="868"/>
                      <a:pt x="1269" y="868"/>
                      <a:pt x="1269" y="868"/>
                    </a:cubicBezTo>
                    <a:cubicBezTo>
                      <a:pt x="1269" y="874"/>
                      <a:pt x="1273" y="878"/>
                      <a:pt x="1279" y="878"/>
                    </a:cubicBezTo>
                    <a:cubicBezTo>
                      <a:pt x="1311" y="878"/>
                      <a:pt x="1311" y="878"/>
                      <a:pt x="1311" y="878"/>
                    </a:cubicBezTo>
                    <a:cubicBezTo>
                      <a:pt x="1316" y="878"/>
                      <a:pt x="1320" y="874"/>
                      <a:pt x="1320" y="868"/>
                    </a:cubicBezTo>
                    <a:cubicBezTo>
                      <a:pt x="1320" y="829"/>
                      <a:pt x="1320" y="829"/>
                      <a:pt x="1320" y="829"/>
                    </a:cubicBezTo>
                    <a:cubicBezTo>
                      <a:pt x="1320" y="823"/>
                      <a:pt x="1324" y="819"/>
                      <a:pt x="1330" y="819"/>
                    </a:cubicBezTo>
                    <a:cubicBezTo>
                      <a:pt x="1369" y="819"/>
                      <a:pt x="1369" y="819"/>
                      <a:pt x="1369" y="819"/>
                    </a:cubicBezTo>
                    <a:cubicBezTo>
                      <a:pt x="1374" y="819"/>
                      <a:pt x="1379" y="815"/>
                      <a:pt x="1379" y="810"/>
                    </a:cubicBezTo>
                    <a:lnTo>
                      <a:pt x="1379" y="778"/>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5" name="Group 64"/>
          <p:cNvGrpSpPr>
            <a:grpSpLocks noChangeAspect="1"/>
          </p:cNvGrpSpPr>
          <p:nvPr/>
        </p:nvGrpSpPr>
        <p:grpSpPr>
          <a:xfrm>
            <a:off x="5572936" y="4516467"/>
            <a:ext cx="891653" cy="892479"/>
            <a:chOff x="5273801" y="2606040"/>
            <a:chExt cx="1644396" cy="1645920"/>
          </a:xfrm>
        </p:grpSpPr>
        <p:sp>
          <p:nvSpPr>
            <p:cNvPr id="66" name="AutoShape 34">
              <a:extLst>
                <a:ext uri="{FF2B5EF4-FFF2-40B4-BE49-F238E27FC236}">
                  <a16:creationId xmlns="" xmlns:a16="http://schemas.microsoft.com/office/drawing/2014/main" id="{53EBCFA3-42E5-408A-AB98-5437639B6F8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7" name="Group 66"/>
            <p:cNvGrpSpPr/>
            <p:nvPr/>
          </p:nvGrpSpPr>
          <p:grpSpPr>
            <a:xfrm>
              <a:off x="5724143" y="2796921"/>
              <a:ext cx="745236" cy="1259967"/>
              <a:chOff x="5724143" y="2796921"/>
              <a:chExt cx="745236" cy="1259967"/>
            </a:xfrm>
          </p:grpSpPr>
          <p:sp>
            <p:nvSpPr>
              <p:cNvPr id="68" name="Freeform 36">
                <a:extLst>
                  <a:ext uri="{FF2B5EF4-FFF2-40B4-BE49-F238E27FC236}">
                    <a16:creationId xmlns="" xmlns:a16="http://schemas.microsoft.com/office/drawing/2014/main" id="{53AE4B90-A59F-42A8-9254-913198CC23DE}"/>
                  </a:ext>
                </a:extLst>
              </p:cNvPr>
              <p:cNvSpPr>
                <a:spLocks noEditPoints="1"/>
              </p:cNvSpPr>
              <p:nvPr/>
            </p:nvSpPr>
            <p:spPr bwMode="auto">
              <a:xfrm>
                <a:off x="5724143" y="2796921"/>
                <a:ext cx="745236" cy="125996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37">
                <a:extLst>
                  <a:ext uri="{FF2B5EF4-FFF2-40B4-BE49-F238E27FC236}">
                    <a16:creationId xmlns="" xmlns:a16="http://schemas.microsoft.com/office/drawing/2014/main" id="{4D1A971A-9F80-4D43-B789-44A9DEB8CB39}"/>
                  </a:ext>
                </a:extLst>
              </p:cNvPr>
              <p:cNvSpPr>
                <a:spLocks/>
              </p:cNvSpPr>
              <p:nvPr/>
            </p:nvSpPr>
            <p:spPr bwMode="auto">
              <a:xfrm>
                <a:off x="5784722" y="2857500"/>
                <a:ext cx="624078" cy="8115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0" name="Group 69"/>
          <p:cNvGrpSpPr>
            <a:grpSpLocks noChangeAspect="1"/>
          </p:cNvGrpSpPr>
          <p:nvPr/>
        </p:nvGrpSpPr>
        <p:grpSpPr>
          <a:xfrm>
            <a:off x="9503137" y="4515330"/>
            <a:ext cx="893341" cy="892479"/>
            <a:chOff x="6464300" y="2606675"/>
            <a:chExt cx="1646238" cy="1644650"/>
          </a:xfrm>
        </p:grpSpPr>
        <p:sp>
          <p:nvSpPr>
            <p:cNvPr id="71" name="AutoShape 14"/>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 name="Group 71"/>
            <p:cNvGrpSpPr/>
            <p:nvPr/>
          </p:nvGrpSpPr>
          <p:grpSpPr>
            <a:xfrm>
              <a:off x="6705513" y="2849420"/>
              <a:ext cx="1162224" cy="1160746"/>
              <a:chOff x="6705513" y="2849420"/>
              <a:chExt cx="1162224" cy="1160746"/>
            </a:xfrm>
          </p:grpSpPr>
          <p:sp>
            <p:nvSpPr>
              <p:cNvPr id="73" name="Freeform 72"/>
              <p:cNvSpPr>
                <a:spLocks/>
              </p:cNvSpPr>
              <p:nvPr/>
            </p:nvSpPr>
            <p:spPr bwMode="auto">
              <a:xfrm>
                <a:off x="6705513" y="2852632"/>
                <a:ext cx="1159037" cy="1157513"/>
              </a:xfrm>
              <a:custGeom>
                <a:avLst/>
                <a:gdLst>
                  <a:gd name="connsiteX0" fmla="*/ 210432 w 1159037"/>
                  <a:gd name="connsiteY0" fmla="*/ 1043093 h 1157513"/>
                  <a:gd name="connsiteX1" fmla="*/ 225514 w 1159037"/>
                  <a:gd name="connsiteY1" fmla="*/ 1058175 h 1157513"/>
                  <a:gd name="connsiteX2" fmla="*/ 210432 w 1159037"/>
                  <a:gd name="connsiteY2" fmla="*/ 1073257 h 1157513"/>
                  <a:gd name="connsiteX3" fmla="*/ 195350 w 1159037"/>
                  <a:gd name="connsiteY3" fmla="*/ 1058175 h 1157513"/>
                  <a:gd name="connsiteX4" fmla="*/ 210432 w 1159037"/>
                  <a:gd name="connsiteY4" fmla="*/ 1043093 h 1157513"/>
                  <a:gd name="connsiteX5" fmla="*/ 153607 w 1159037"/>
                  <a:gd name="connsiteY5" fmla="*/ 817668 h 1157513"/>
                  <a:gd name="connsiteX6" fmla="*/ 268843 w 1159037"/>
                  <a:gd name="connsiteY6" fmla="*/ 817668 h 1157513"/>
                  <a:gd name="connsiteX7" fmla="*/ 273137 w 1159037"/>
                  <a:gd name="connsiteY7" fmla="*/ 822659 h 1157513"/>
                  <a:gd name="connsiteX8" fmla="*/ 273137 w 1159037"/>
                  <a:gd name="connsiteY8" fmla="*/ 1016590 h 1157513"/>
                  <a:gd name="connsiteX9" fmla="*/ 268843 w 1159037"/>
                  <a:gd name="connsiteY9" fmla="*/ 1020868 h 1157513"/>
                  <a:gd name="connsiteX10" fmla="*/ 153607 w 1159037"/>
                  <a:gd name="connsiteY10" fmla="*/ 1020868 h 1157513"/>
                  <a:gd name="connsiteX11" fmla="*/ 149312 w 1159037"/>
                  <a:gd name="connsiteY11" fmla="*/ 1016590 h 1157513"/>
                  <a:gd name="connsiteX12" fmla="*/ 149312 w 1159037"/>
                  <a:gd name="connsiteY12" fmla="*/ 822659 h 1157513"/>
                  <a:gd name="connsiteX13" fmla="*/ 153607 w 1159037"/>
                  <a:gd name="connsiteY13" fmla="*/ 817668 h 1157513"/>
                  <a:gd name="connsiteX14" fmla="*/ 139397 w 1159037"/>
                  <a:gd name="connsiteY14" fmla="*/ 797031 h 1157513"/>
                  <a:gd name="connsiteX15" fmla="*/ 128676 w 1159037"/>
                  <a:gd name="connsiteY15" fmla="*/ 807710 h 1157513"/>
                  <a:gd name="connsiteX16" fmla="*/ 128676 w 1159037"/>
                  <a:gd name="connsiteY16" fmla="*/ 1083216 h 1157513"/>
                  <a:gd name="connsiteX17" fmla="*/ 139397 w 1159037"/>
                  <a:gd name="connsiteY17" fmla="*/ 1093894 h 1157513"/>
                  <a:gd name="connsiteX18" fmla="*/ 283055 w 1159037"/>
                  <a:gd name="connsiteY18" fmla="*/ 1093894 h 1157513"/>
                  <a:gd name="connsiteX19" fmla="*/ 293776 w 1159037"/>
                  <a:gd name="connsiteY19" fmla="*/ 1083216 h 1157513"/>
                  <a:gd name="connsiteX20" fmla="*/ 293776 w 1159037"/>
                  <a:gd name="connsiteY20" fmla="*/ 807710 h 1157513"/>
                  <a:gd name="connsiteX21" fmla="*/ 283055 w 1159037"/>
                  <a:gd name="connsiteY21" fmla="*/ 797031 h 1157513"/>
                  <a:gd name="connsiteX22" fmla="*/ 139397 w 1159037"/>
                  <a:gd name="connsiteY22" fmla="*/ 797031 h 1157513"/>
                  <a:gd name="connsiteX23" fmla="*/ 508450 w 1159037"/>
                  <a:gd name="connsiteY23" fmla="*/ 634945 h 1157513"/>
                  <a:gd name="connsiteX24" fmla="*/ 519797 w 1159037"/>
                  <a:gd name="connsiteY24" fmla="*/ 639227 h 1157513"/>
                  <a:gd name="connsiteX25" fmla="*/ 581265 w 1159037"/>
                  <a:gd name="connsiteY25" fmla="*/ 664919 h 1157513"/>
                  <a:gd name="connsiteX26" fmla="*/ 596989 w 1159037"/>
                  <a:gd name="connsiteY26" fmla="*/ 680619 h 1157513"/>
                  <a:gd name="connsiteX27" fmla="*/ 581265 w 1159037"/>
                  <a:gd name="connsiteY27" fmla="*/ 696319 h 1157513"/>
                  <a:gd name="connsiteX28" fmla="*/ 509076 w 1159037"/>
                  <a:gd name="connsiteY28" fmla="*/ 672055 h 1157513"/>
                  <a:gd name="connsiteX29" fmla="*/ 371130 w 1159037"/>
                  <a:gd name="connsiteY29" fmla="*/ 809789 h 1157513"/>
                  <a:gd name="connsiteX30" fmla="*/ 360409 w 1159037"/>
                  <a:gd name="connsiteY30" fmla="*/ 1095962 h 1157513"/>
                  <a:gd name="connsiteX31" fmla="*/ 61647 w 1159037"/>
                  <a:gd name="connsiteY31" fmla="*/ 1095962 h 1157513"/>
                  <a:gd name="connsiteX32" fmla="*/ 61647 w 1159037"/>
                  <a:gd name="connsiteY32" fmla="*/ 797657 h 1157513"/>
                  <a:gd name="connsiteX33" fmla="*/ 348973 w 1159037"/>
                  <a:gd name="connsiteY33" fmla="*/ 787666 h 1157513"/>
                  <a:gd name="connsiteX34" fmla="*/ 497640 w 1159037"/>
                  <a:gd name="connsiteY34" fmla="*/ 639227 h 1157513"/>
                  <a:gd name="connsiteX35" fmla="*/ 508450 w 1159037"/>
                  <a:gd name="connsiteY35" fmla="*/ 634945 h 1157513"/>
                  <a:gd name="connsiteX36" fmla="*/ 581112 w 1159037"/>
                  <a:gd name="connsiteY36" fmla="*/ 530331 h 1157513"/>
                  <a:gd name="connsiteX37" fmla="*/ 628737 w 1159037"/>
                  <a:gd name="connsiteY37" fmla="*/ 577163 h 1157513"/>
                  <a:gd name="connsiteX38" fmla="*/ 581112 w 1159037"/>
                  <a:gd name="connsiteY38" fmla="*/ 623995 h 1157513"/>
                  <a:gd name="connsiteX39" fmla="*/ 533487 w 1159037"/>
                  <a:gd name="connsiteY39" fmla="*/ 577163 h 1157513"/>
                  <a:gd name="connsiteX40" fmla="*/ 581112 w 1159037"/>
                  <a:gd name="connsiteY40" fmla="*/ 530331 h 1157513"/>
                  <a:gd name="connsiteX41" fmla="*/ 947825 w 1159037"/>
                  <a:gd name="connsiteY41" fmla="*/ 189018 h 1157513"/>
                  <a:gd name="connsiteX42" fmla="*/ 927187 w 1159037"/>
                  <a:gd name="connsiteY42" fmla="*/ 209656 h 1157513"/>
                  <a:gd name="connsiteX43" fmla="*/ 947825 w 1159037"/>
                  <a:gd name="connsiteY43" fmla="*/ 230294 h 1157513"/>
                  <a:gd name="connsiteX44" fmla="*/ 968463 w 1159037"/>
                  <a:gd name="connsiteY44" fmla="*/ 209656 h 1157513"/>
                  <a:gd name="connsiteX45" fmla="*/ 947825 w 1159037"/>
                  <a:gd name="connsiteY45" fmla="*/ 189018 h 1157513"/>
                  <a:gd name="connsiteX46" fmla="*/ 992489 w 1159037"/>
                  <a:gd name="connsiteY46" fmla="*/ 157102 h 1157513"/>
                  <a:gd name="connsiteX47" fmla="*/ 981848 w 1159037"/>
                  <a:gd name="connsiteY47" fmla="*/ 161363 h 1157513"/>
                  <a:gd name="connsiteX48" fmla="*/ 981144 w 1159037"/>
                  <a:gd name="connsiteY48" fmla="*/ 183379 h 1157513"/>
                  <a:gd name="connsiteX49" fmla="*/ 980441 w 1159037"/>
                  <a:gd name="connsiteY49" fmla="*/ 238064 h 1157513"/>
                  <a:gd name="connsiteX50" fmla="*/ 982551 w 1159037"/>
                  <a:gd name="connsiteY50" fmla="*/ 260080 h 1157513"/>
                  <a:gd name="connsiteX51" fmla="*/ 992401 w 1159037"/>
                  <a:gd name="connsiteY51" fmla="*/ 263631 h 1157513"/>
                  <a:gd name="connsiteX52" fmla="*/ 1004362 w 1159037"/>
                  <a:gd name="connsiteY52" fmla="*/ 257239 h 1157513"/>
                  <a:gd name="connsiteX53" fmla="*/ 1003658 w 1159037"/>
                  <a:gd name="connsiteY53" fmla="*/ 161363 h 1157513"/>
                  <a:gd name="connsiteX54" fmla="*/ 992489 w 1159037"/>
                  <a:gd name="connsiteY54" fmla="*/ 157102 h 1157513"/>
                  <a:gd name="connsiteX55" fmla="*/ 903337 w 1159037"/>
                  <a:gd name="connsiteY55" fmla="*/ 157102 h 1157513"/>
                  <a:gd name="connsiteX56" fmla="*/ 892696 w 1159037"/>
                  <a:gd name="connsiteY56" fmla="*/ 161363 h 1157513"/>
                  <a:gd name="connsiteX57" fmla="*/ 891289 w 1159037"/>
                  <a:gd name="connsiteY57" fmla="*/ 257239 h 1157513"/>
                  <a:gd name="connsiteX58" fmla="*/ 903249 w 1159037"/>
                  <a:gd name="connsiteY58" fmla="*/ 263631 h 1157513"/>
                  <a:gd name="connsiteX59" fmla="*/ 913099 w 1159037"/>
                  <a:gd name="connsiteY59" fmla="*/ 260080 h 1157513"/>
                  <a:gd name="connsiteX60" fmla="*/ 915913 w 1159037"/>
                  <a:gd name="connsiteY60" fmla="*/ 238064 h 1157513"/>
                  <a:gd name="connsiteX61" fmla="*/ 914506 w 1159037"/>
                  <a:gd name="connsiteY61" fmla="*/ 183379 h 1157513"/>
                  <a:gd name="connsiteX62" fmla="*/ 914506 w 1159037"/>
                  <a:gd name="connsiteY62" fmla="*/ 161363 h 1157513"/>
                  <a:gd name="connsiteX63" fmla="*/ 903337 w 1159037"/>
                  <a:gd name="connsiteY63" fmla="*/ 157102 h 1157513"/>
                  <a:gd name="connsiteX64" fmla="*/ 1028876 w 1159037"/>
                  <a:gd name="connsiteY64" fmla="*/ 125443 h 1157513"/>
                  <a:gd name="connsiteX65" fmla="*/ 1017675 w 1159037"/>
                  <a:gd name="connsiteY65" fmla="*/ 129622 h 1157513"/>
                  <a:gd name="connsiteX66" fmla="*/ 1017675 w 1159037"/>
                  <a:gd name="connsiteY66" fmla="*/ 152388 h 1157513"/>
                  <a:gd name="connsiteX67" fmla="*/ 1016264 w 1159037"/>
                  <a:gd name="connsiteY67" fmla="*/ 270482 h 1157513"/>
                  <a:gd name="connsiteX68" fmla="*/ 1019086 w 1159037"/>
                  <a:gd name="connsiteY68" fmla="*/ 292535 h 1157513"/>
                  <a:gd name="connsiteX69" fmla="*/ 1028964 w 1159037"/>
                  <a:gd name="connsiteY69" fmla="*/ 295381 h 1157513"/>
                  <a:gd name="connsiteX70" fmla="*/ 1040959 w 1159037"/>
                  <a:gd name="connsiteY70" fmla="*/ 289690 h 1157513"/>
                  <a:gd name="connsiteX71" fmla="*/ 1039547 w 1159037"/>
                  <a:gd name="connsiteY71" fmla="*/ 130334 h 1157513"/>
                  <a:gd name="connsiteX72" fmla="*/ 1028876 w 1159037"/>
                  <a:gd name="connsiteY72" fmla="*/ 125443 h 1157513"/>
                  <a:gd name="connsiteX73" fmla="*/ 867306 w 1159037"/>
                  <a:gd name="connsiteY73" fmla="*/ 125443 h 1157513"/>
                  <a:gd name="connsiteX74" fmla="*/ 856429 w 1159037"/>
                  <a:gd name="connsiteY74" fmla="*/ 130334 h 1157513"/>
                  <a:gd name="connsiteX75" fmla="*/ 854991 w 1159037"/>
                  <a:gd name="connsiteY75" fmla="*/ 289690 h 1157513"/>
                  <a:gd name="connsiteX76" fmla="*/ 867935 w 1159037"/>
                  <a:gd name="connsiteY76" fmla="*/ 295381 h 1157513"/>
                  <a:gd name="connsiteX77" fmla="*/ 877284 w 1159037"/>
                  <a:gd name="connsiteY77" fmla="*/ 292535 h 1157513"/>
                  <a:gd name="connsiteX78" fmla="*/ 880160 w 1159037"/>
                  <a:gd name="connsiteY78" fmla="*/ 270482 h 1157513"/>
                  <a:gd name="connsiteX79" fmla="*/ 879441 w 1159037"/>
                  <a:gd name="connsiteY79" fmla="*/ 152388 h 1157513"/>
                  <a:gd name="connsiteX80" fmla="*/ 878722 w 1159037"/>
                  <a:gd name="connsiteY80" fmla="*/ 129622 h 1157513"/>
                  <a:gd name="connsiteX81" fmla="*/ 867306 w 1159037"/>
                  <a:gd name="connsiteY81" fmla="*/ 125443 h 1157513"/>
                  <a:gd name="connsiteX82" fmla="*/ 1064232 w 1159037"/>
                  <a:gd name="connsiteY82" fmla="*/ 92202 h 1157513"/>
                  <a:gd name="connsiteX83" fmla="*/ 1052756 w 1159037"/>
                  <a:gd name="connsiteY83" fmla="*/ 97029 h 1157513"/>
                  <a:gd name="connsiteX84" fmla="*/ 1052756 w 1159037"/>
                  <a:gd name="connsiteY84" fmla="*/ 119197 h 1157513"/>
                  <a:gd name="connsiteX85" fmla="*/ 1082394 w 1159037"/>
                  <a:gd name="connsiteY85" fmla="*/ 172113 h 1157513"/>
                  <a:gd name="connsiteX86" fmla="*/ 1051310 w 1159037"/>
                  <a:gd name="connsiteY86" fmla="*/ 303690 h 1157513"/>
                  <a:gd name="connsiteX87" fmla="*/ 1054202 w 1159037"/>
                  <a:gd name="connsiteY87" fmla="*/ 325858 h 1157513"/>
                  <a:gd name="connsiteX88" fmla="*/ 1064322 w 1159037"/>
                  <a:gd name="connsiteY88" fmla="*/ 328718 h 1157513"/>
                  <a:gd name="connsiteX89" fmla="*/ 1076611 w 1159037"/>
                  <a:gd name="connsiteY89" fmla="*/ 322997 h 1157513"/>
                  <a:gd name="connsiteX90" fmla="*/ 1113478 w 1159037"/>
                  <a:gd name="connsiteY90" fmla="*/ 162817 h 1157513"/>
                  <a:gd name="connsiteX91" fmla="*/ 1075166 w 1159037"/>
                  <a:gd name="connsiteY91" fmla="*/ 97029 h 1157513"/>
                  <a:gd name="connsiteX92" fmla="*/ 1064232 w 1159037"/>
                  <a:gd name="connsiteY92" fmla="*/ 92202 h 1157513"/>
                  <a:gd name="connsiteX93" fmla="*/ 832198 w 1159037"/>
                  <a:gd name="connsiteY93" fmla="*/ 92202 h 1157513"/>
                  <a:gd name="connsiteX94" fmla="*/ 820879 w 1159037"/>
                  <a:gd name="connsiteY94" fmla="*/ 97029 h 1157513"/>
                  <a:gd name="connsiteX95" fmla="*/ 783801 w 1159037"/>
                  <a:gd name="connsiteY95" fmla="*/ 162817 h 1157513"/>
                  <a:gd name="connsiteX96" fmla="*/ 817314 w 1159037"/>
                  <a:gd name="connsiteY96" fmla="*/ 320137 h 1157513"/>
                  <a:gd name="connsiteX97" fmla="*/ 819453 w 1159037"/>
                  <a:gd name="connsiteY97" fmla="*/ 322997 h 1157513"/>
                  <a:gd name="connsiteX98" fmla="*/ 832287 w 1159037"/>
                  <a:gd name="connsiteY98" fmla="*/ 328718 h 1157513"/>
                  <a:gd name="connsiteX99" fmla="*/ 841557 w 1159037"/>
                  <a:gd name="connsiteY99" fmla="*/ 325858 h 1157513"/>
                  <a:gd name="connsiteX100" fmla="*/ 847261 w 1159037"/>
                  <a:gd name="connsiteY100" fmla="*/ 308696 h 1157513"/>
                  <a:gd name="connsiteX101" fmla="*/ 844409 w 1159037"/>
                  <a:gd name="connsiteY101" fmla="*/ 303690 h 1157513"/>
                  <a:gd name="connsiteX102" fmla="*/ 842983 w 1159037"/>
                  <a:gd name="connsiteY102" fmla="*/ 119197 h 1157513"/>
                  <a:gd name="connsiteX103" fmla="*/ 842983 w 1159037"/>
                  <a:gd name="connsiteY103" fmla="*/ 97029 h 1157513"/>
                  <a:gd name="connsiteX104" fmla="*/ 832198 w 1159037"/>
                  <a:gd name="connsiteY104" fmla="*/ 92202 h 1157513"/>
                  <a:gd name="connsiteX105" fmla="*/ 948141 w 1159037"/>
                  <a:gd name="connsiteY105" fmla="*/ 0 h 1157513"/>
                  <a:gd name="connsiteX106" fmla="*/ 1097351 w 1159037"/>
                  <a:gd name="connsiteY106" fmla="*/ 61597 h 1157513"/>
                  <a:gd name="connsiteX107" fmla="*/ 1097351 w 1159037"/>
                  <a:gd name="connsiteY107" fmla="*/ 360119 h 1157513"/>
                  <a:gd name="connsiteX108" fmla="*/ 810553 w 1159037"/>
                  <a:gd name="connsiteY108" fmla="*/ 370831 h 1157513"/>
                  <a:gd name="connsiteX109" fmla="*/ 664651 w 1159037"/>
                  <a:gd name="connsiteY109" fmla="*/ 516521 h 1157513"/>
                  <a:gd name="connsiteX110" fmla="*/ 653923 w 1159037"/>
                  <a:gd name="connsiteY110" fmla="*/ 520806 h 1157513"/>
                  <a:gd name="connsiteX111" fmla="*/ 642480 w 1159037"/>
                  <a:gd name="connsiteY111" fmla="*/ 516521 h 1157513"/>
                  <a:gd name="connsiteX112" fmla="*/ 580972 w 1159037"/>
                  <a:gd name="connsiteY112" fmla="*/ 490811 h 1157513"/>
                  <a:gd name="connsiteX113" fmla="*/ 565237 w 1159037"/>
                  <a:gd name="connsiteY113" fmla="*/ 475100 h 1157513"/>
                  <a:gd name="connsiteX114" fmla="*/ 580972 w 1159037"/>
                  <a:gd name="connsiteY114" fmla="*/ 459388 h 1157513"/>
                  <a:gd name="connsiteX115" fmla="*/ 653208 w 1159037"/>
                  <a:gd name="connsiteY115" fmla="*/ 483669 h 1157513"/>
                  <a:gd name="connsiteX116" fmla="*/ 788382 w 1159037"/>
                  <a:gd name="connsiteY116" fmla="*/ 348692 h 1157513"/>
                  <a:gd name="connsiteX117" fmla="*/ 798395 w 1159037"/>
                  <a:gd name="connsiteY117" fmla="*/ 61597 h 1157513"/>
                  <a:gd name="connsiteX118" fmla="*/ 948141 w 1159037"/>
                  <a:gd name="connsiteY118" fmla="*/ 0 h 115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159037" h="1157513">
                    <a:moveTo>
                      <a:pt x="210432" y="1043093"/>
                    </a:moveTo>
                    <a:cubicBezTo>
                      <a:pt x="218762" y="1043093"/>
                      <a:pt x="225514" y="1049845"/>
                      <a:pt x="225514" y="1058175"/>
                    </a:cubicBezTo>
                    <a:cubicBezTo>
                      <a:pt x="225514" y="1066505"/>
                      <a:pt x="218762" y="1073257"/>
                      <a:pt x="210432" y="1073257"/>
                    </a:cubicBezTo>
                    <a:cubicBezTo>
                      <a:pt x="202102" y="1073257"/>
                      <a:pt x="195350" y="1066505"/>
                      <a:pt x="195350" y="1058175"/>
                    </a:cubicBezTo>
                    <a:cubicBezTo>
                      <a:pt x="195350" y="1049845"/>
                      <a:pt x="202102" y="1043093"/>
                      <a:pt x="210432" y="1043093"/>
                    </a:cubicBezTo>
                    <a:close/>
                    <a:moveTo>
                      <a:pt x="153607" y="817668"/>
                    </a:moveTo>
                    <a:cubicBezTo>
                      <a:pt x="153607" y="817668"/>
                      <a:pt x="153607" y="817668"/>
                      <a:pt x="268843" y="817668"/>
                    </a:cubicBezTo>
                    <a:cubicBezTo>
                      <a:pt x="270990" y="817668"/>
                      <a:pt x="273137" y="819807"/>
                      <a:pt x="273137" y="822659"/>
                    </a:cubicBezTo>
                    <a:cubicBezTo>
                      <a:pt x="273137" y="822659"/>
                      <a:pt x="273137" y="822659"/>
                      <a:pt x="273137" y="1016590"/>
                    </a:cubicBezTo>
                    <a:cubicBezTo>
                      <a:pt x="273137" y="1018729"/>
                      <a:pt x="270990" y="1020868"/>
                      <a:pt x="268843" y="1020868"/>
                    </a:cubicBezTo>
                    <a:cubicBezTo>
                      <a:pt x="268843" y="1020868"/>
                      <a:pt x="268843" y="1020868"/>
                      <a:pt x="153607" y="1020868"/>
                    </a:cubicBezTo>
                    <a:cubicBezTo>
                      <a:pt x="151460" y="1020868"/>
                      <a:pt x="149312" y="1018729"/>
                      <a:pt x="149312" y="1016590"/>
                    </a:cubicBezTo>
                    <a:cubicBezTo>
                      <a:pt x="149312" y="1016590"/>
                      <a:pt x="149312" y="1016590"/>
                      <a:pt x="149312" y="822659"/>
                    </a:cubicBezTo>
                    <a:cubicBezTo>
                      <a:pt x="149312" y="819807"/>
                      <a:pt x="151460" y="817668"/>
                      <a:pt x="153607" y="817668"/>
                    </a:cubicBezTo>
                    <a:close/>
                    <a:moveTo>
                      <a:pt x="139397" y="797031"/>
                    </a:moveTo>
                    <a:cubicBezTo>
                      <a:pt x="133679" y="797031"/>
                      <a:pt x="128676" y="802014"/>
                      <a:pt x="128676" y="807710"/>
                    </a:cubicBezTo>
                    <a:cubicBezTo>
                      <a:pt x="128676" y="807710"/>
                      <a:pt x="128676" y="807710"/>
                      <a:pt x="128676" y="1083216"/>
                    </a:cubicBezTo>
                    <a:cubicBezTo>
                      <a:pt x="128676" y="1089623"/>
                      <a:pt x="133679" y="1093894"/>
                      <a:pt x="139397" y="1093894"/>
                    </a:cubicBezTo>
                    <a:cubicBezTo>
                      <a:pt x="139397" y="1093894"/>
                      <a:pt x="139397" y="1093894"/>
                      <a:pt x="283055" y="1093894"/>
                    </a:cubicBezTo>
                    <a:cubicBezTo>
                      <a:pt x="288773" y="1093894"/>
                      <a:pt x="293776" y="1089623"/>
                      <a:pt x="293776" y="1083216"/>
                    </a:cubicBezTo>
                    <a:lnTo>
                      <a:pt x="293776" y="807710"/>
                    </a:lnTo>
                    <a:cubicBezTo>
                      <a:pt x="293776" y="802014"/>
                      <a:pt x="288773" y="797031"/>
                      <a:pt x="283055" y="797031"/>
                    </a:cubicBezTo>
                    <a:cubicBezTo>
                      <a:pt x="283055" y="797031"/>
                      <a:pt x="283055" y="797031"/>
                      <a:pt x="139397" y="797031"/>
                    </a:cubicBezTo>
                    <a:close/>
                    <a:moveTo>
                      <a:pt x="508450" y="634945"/>
                    </a:moveTo>
                    <a:cubicBezTo>
                      <a:pt x="512471" y="634945"/>
                      <a:pt x="516581" y="636373"/>
                      <a:pt x="519797" y="639227"/>
                    </a:cubicBezTo>
                    <a:cubicBezTo>
                      <a:pt x="536236" y="655641"/>
                      <a:pt x="557678" y="664919"/>
                      <a:pt x="581265" y="664919"/>
                    </a:cubicBezTo>
                    <a:cubicBezTo>
                      <a:pt x="589842" y="664919"/>
                      <a:pt x="596989" y="672055"/>
                      <a:pt x="596989" y="680619"/>
                    </a:cubicBezTo>
                    <a:cubicBezTo>
                      <a:pt x="596989" y="689183"/>
                      <a:pt x="589842" y="696319"/>
                      <a:pt x="581265" y="696319"/>
                    </a:cubicBezTo>
                    <a:cubicBezTo>
                      <a:pt x="554819" y="696319"/>
                      <a:pt x="529803" y="687755"/>
                      <a:pt x="509076" y="672055"/>
                    </a:cubicBezTo>
                    <a:cubicBezTo>
                      <a:pt x="509076" y="672055"/>
                      <a:pt x="509076" y="672055"/>
                      <a:pt x="371130" y="809789"/>
                    </a:cubicBezTo>
                    <a:cubicBezTo>
                      <a:pt x="442605" y="892572"/>
                      <a:pt x="439031" y="1017460"/>
                      <a:pt x="360409" y="1095962"/>
                    </a:cubicBezTo>
                    <a:cubicBezTo>
                      <a:pt x="278214" y="1178031"/>
                      <a:pt x="144557" y="1178031"/>
                      <a:pt x="61647" y="1095962"/>
                    </a:cubicBezTo>
                    <a:cubicBezTo>
                      <a:pt x="-20549" y="1013892"/>
                      <a:pt x="-20549" y="880440"/>
                      <a:pt x="61647" y="797657"/>
                    </a:cubicBezTo>
                    <a:cubicBezTo>
                      <a:pt x="140268" y="719156"/>
                      <a:pt x="266063" y="715588"/>
                      <a:pt x="348973" y="787666"/>
                    </a:cubicBezTo>
                    <a:cubicBezTo>
                      <a:pt x="348973" y="787666"/>
                      <a:pt x="348973" y="787666"/>
                      <a:pt x="497640" y="639227"/>
                    </a:cubicBezTo>
                    <a:cubicBezTo>
                      <a:pt x="500499" y="636373"/>
                      <a:pt x="504430" y="634945"/>
                      <a:pt x="508450" y="634945"/>
                    </a:cubicBezTo>
                    <a:close/>
                    <a:moveTo>
                      <a:pt x="581112" y="530331"/>
                    </a:moveTo>
                    <a:cubicBezTo>
                      <a:pt x="607415" y="530331"/>
                      <a:pt x="628737" y="551298"/>
                      <a:pt x="628737" y="577163"/>
                    </a:cubicBezTo>
                    <a:cubicBezTo>
                      <a:pt x="628737" y="603028"/>
                      <a:pt x="607415" y="623995"/>
                      <a:pt x="581112" y="623995"/>
                    </a:cubicBezTo>
                    <a:cubicBezTo>
                      <a:pt x="554809" y="623995"/>
                      <a:pt x="533487" y="603028"/>
                      <a:pt x="533487" y="577163"/>
                    </a:cubicBezTo>
                    <a:cubicBezTo>
                      <a:pt x="533487" y="551298"/>
                      <a:pt x="554809" y="530331"/>
                      <a:pt x="581112" y="530331"/>
                    </a:cubicBezTo>
                    <a:close/>
                    <a:moveTo>
                      <a:pt x="947825" y="189018"/>
                    </a:moveTo>
                    <a:cubicBezTo>
                      <a:pt x="936427" y="189018"/>
                      <a:pt x="927187" y="198258"/>
                      <a:pt x="927187" y="209656"/>
                    </a:cubicBezTo>
                    <a:cubicBezTo>
                      <a:pt x="927187" y="221054"/>
                      <a:pt x="936427" y="230294"/>
                      <a:pt x="947825" y="230294"/>
                    </a:cubicBezTo>
                    <a:cubicBezTo>
                      <a:pt x="959223" y="230294"/>
                      <a:pt x="968463" y="221054"/>
                      <a:pt x="968463" y="209656"/>
                    </a:cubicBezTo>
                    <a:cubicBezTo>
                      <a:pt x="968463" y="198258"/>
                      <a:pt x="959223" y="189018"/>
                      <a:pt x="947825" y="189018"/>
                    </a:cubicBezTo>
                    <a:close/>
                    <a:moveTo>
                      <a:pt x="992489" y="157102"/>
                    </a:moveTo>
                    <a:cubicBezTo>
                      <a:pt x="988532" y="157102"/>
                      <a:pt x="984662" y="158522"/>
                      <a:pt x="981848" y="161363"/>
                    </a:cubicBezTo>
                    <a:cubicBezTo>
                      <a:pt x="975516" y="167754"/>
                      <a:pt x="975516" y="177697"/>
                      <a:pt x="981144" y="183379"/>
                    </a:cubicBezTo>
                    <a:cubicBezTo>
                      <a:pt x="982551" y="184799"/>
                      <a:pt x="1004362" y="207526"/>
                      <a:pt x="980441" y="238064"/>
                    </a:cubicBezTo>
                    <a:cubicBezTo>
                      <a:pt x="974812" y="245166"/>
                      <a:pt x="976219" y="255109"/>
                      <a:pt x="982551" y="260080"/>
                    </a:cubicBezTo>
                    <a:cubicBezTo>
                      <a:pt x="985366" y="262211"/>
                      <a:pt x="988883" y="263631"/>
                      <a:pt x="992401" y="263631"/>
                    </a:cubicBezTo>
                    <a:cubicBezTo>
                      <a:pt x="997326" y="263631"/>
                      <a:pt x="1001547" y="261501"/>
                      <a:pt x="1004362" y="257239"/>
                    </a:cubicBezTo>
                    <a:cubicBezTo>
                      <a:pt x="1036725" y="216048"/>
                      <a:pt x="1017729" y="176277"/>
                      <a:pt x="1003658" y="161363"/>
                    </a:cubicBezTo>
                    <a:cubicBezTo>
                      <a:pt x="1000492" y="158522"/>
                      <a:pt x="996447" y="157102"/>
                      <a:pt x="992489" y="157102"/>
                    </a:cubicBezTo>
                    <a:close/>
                    <a:moveTo>
                      <a:pt x="903337" y="157102"/>
                    </a:moveTo>
                    <a:cubicBezTo>
                      <a:pt x="899380" y="157102"/>
                      <a:pt x="895510" y="158522"/>
                      <a:pt x="892696" y="161363"/>
                    </a:cubicBezTo>
                    <a:cubicBezTo>
                      <a:pt x="877921" y="176277"/>
                      <a:pt x="858925" y="216048"/>
                      <a:pt x="891289" y="257239"/>
                    </a:cubicBezTo>
                    <a:cubicBezTo>
                      <a:pt x="894103" y="261501"/>
                      <a:pt x="899028" y="263631"/>
                      <a:pt x="903249" y="263631"/>
                    </a:cubicBezTo>
                    <a:cubicBezTo>
                      <a:pt x="906767" y="263631"/>
                      <a:pt x="910285" y="262211"/>
                      <a:pt x="913099" y="260080"/>
                    </a:cubicBezTo>
                    <a:cubicBezTo>
                      <a:pt x="920135" y="255109"/>
                      <a:pt x="920838" y="245166"/>
                      <a:pt x="915913" y="238064"/>
                    </a:cubicBezTo>
                    <a:cubicBezTo>
                      <a:pt x="893400" y="208946"/>
                      <a:pt x="910988" y="187640"/>
                      <a:pt x="914506" y="183379"/>
                    </a:cubicBezTo>
                    <a:cubicBezTo>
                      <a:pt x="920838" y="176987"/>
                      <a:pt x="920135" y="167754"/>
                      <a:pt x="914506" y="161363"/>
                    </a:cubicBezTo>
                    <a:cubicBezTo>
                      <a:pt x="911340" y="158522"/>
                      <a:pt x="907295" y="157102"/>
                      <a:pt x="903337" y="157102"/>
                    </a:cubicBezTo>
                    <a:close/>
                    <a:moveTo>
                      <a:pt x="1028876" y="125443"/>
                    </a:moveTo>
                    <a:cubicBezTo>
                      <a:pt x="1024907" y="125354"/>
                      <a:pt x="1020850" y="126777"/>
                      <a:pt x="1017675" y="129622"/>
                    </a:cubicBezTo>
                    <a:cubicBezTo>
                      <a:pt x="1012031" y="136025"/>
                      <a:pt x="1011325" y="145985"/>
                      <a:pt x="1017675" y="152388"/>
                    </a:cubicBezTo>
                    <a:cubicBezTo>
                      <a:pt x="1019086" y="154522"/>
                      <a:pt x="1065653" y="205032"/>
                      <a:pt x="1016264" y="270482"/>
                    </a:cubicBezTo>
                    <a:cubicBezTo>
                      <a:pt x="1011325" y="276884"/>
                      <a:pt x="1012736" y="286844"/>
                      <a:pt x="1019086" y="292535"/>
                    </a:cubicBezTo>
                    <a:cubicBezTo>
                      <a:pt x="1021909" y="294670"/>
                      <a:pt x="1025436" y="295381"/>
                      <a:pt x="1028964" y="295381"/>
                    </a:cubicBezTo>
                    <a:cubicBezTo>
                      <a:pt x="1033197" y="295381"/>
                      <a:pt x="1038136" y="293247"/>
                      <a:pt x="1040959" y="289690"/>
                    </a:cubicBezTo>
                    <a:cubicBezTo>
                      <a:pt x="1093875" y="219972"/>
                      <a:pt x="1063536" y="155233"/>
                      <a:pt x="1039547" y="130334"/>
                    </a:cubicBezTo>
                    <a:cubicBezTo>
                      <a:pt x="1036725" y="127133"/>
                      <a:pt x="1032845" y="125532"/>
                      <a:pt x="1028876" y="125443"/>
                    </a:cubicBezTo>
                    <a:close/>
                    <a:moveTo>
                      <a:pt x="867306" y="125443"/>
                    </a:moveTo>
                    <a:cubicBezTo>
                      <a:pt x="863261" y="125532"/>
                      <a:pt x="859306" y="127133"/>
                      <a:pt x="856429" y="130334"/>
                    </a:cubicBezTo>
                    <a:cubicBezTo>
                      <a:pt x="832698" y="155233"/>
                      <a:pt x="801775" y="219972"/>
                      <a:pt x="854991" y="289690"/>
                    </a:cubicBezTo>
                    <a:cubicBezTo>
                      <a:pt x="858586" y="293247"/>
                      <a:pt x="862901" y="295381"/>
                      <a:pt x="867935" y="295381"/>
                    </a:cubicBezTo>
                    <a:cubicBezTo>
                      <a:pt x="871531" y="295381"/>
                      <a:pt x="874407" y="294670"/>
                      <a:pt x="877284" y="292535"/>
                    </a:cubicBezTo>
                    <a:cubicBezTo>
                      <a:pt x="884475" y="286844"/>
                      <a:pt x="885913" y="276884"/>
                      <a:pt x="880160" y="270482"/>
                    </a:cubicBezTo>
                    <a:cubicBezTo>
                      <a:pt x="829821" y="205032"/>
                      <a:pt x="877284" y="154522"/>
                      <a:pt x="879441" y="152388"/>
                    </a:cubicBezTo>
                    <a:cubicBezTo>
                      <a:pt x="885194" y="145985"/>
                      <a:pt x="885194" y="136025"/>
                      <a:pt x="878722" y="129622"/>
                    </a:cubicBezTo>
                    <a:cubicBezTo>
                      <a:pt x="875486" y="126777"/>
                      <a:pt x="871351" y="125354"/>
                      <a:pt x="867306" y="125443"/>
                    </a:cubicBezTo>
                    <a:close/>
                    <a:moveTo>
                      <a:pt x="1064232" y="92202"/>
                    </a:moveTo>
                    <a:cubicBezTo>
                      <a:pt x="1060166" y="92202"/>
                      <a:pt x="1056009" y="93811"/>
                      <a:pt x="1052756" y="97029"/>
                    </a:cubicBezTo>
                    <a:cubicBezTo>
                      <a:pt x="1046973" y="102750"/>
                      <a:pt x="1046250" y="112761"/>
                      <a:pt x="1052756" y="119197"/>
                    </a:cubicBezTo>
                    <a:cubicBezTo>
                      <a:pt x="1052756" y="119197"/>
                      <a:pt x="1072997" y="139219"/>
                      <a:pt x="1082394" y="172113"/>
                    </a:cubicBezTo>
                    <a:cubicBezTo>
                      <a:pt x="1096129" y="216449"/>
                      <a:pt x="1085286" y="260069"/>
                      <a:pt x="1051310" y="303690"/>
                    </a:cubicBezTo>
                    <a:cubicBezTo>
                      <a:pt x="1046250" y="310126"/>
                      <a:pt x="1046973" y="320137"/>
                      <a:pt x="1054202" y="325858"/>
                    </a:cubicBezTo>
                    <a:cubicBezTo>
                      <a:pt x="1057094" y="328003"/>
                      <a:pt x="1060708" y="328718"/>
                      <a:pt x="1064322" y="328718"/>
                    </a:cubicBezTo>
                    <a:cubicBezTo>
                      <a:pt x="1068660" y="328718"/>
                      <a:pt x="1073720" y="326573"/>
                      <a:pt x="1076611" y="322997"/>
                    </a:cubicBezTo>
                    <a:cubicBezTo>
                      <a:pt x="1127213" y="258639"/>
                      <a:pt x="1124322" y="200717"/>
                      <a:pt x="1113478" y="162817"/>
                    </a:cubicBezTo>
                    <a:cubicBezTo>
                      <a:pt x="1101189" y="122772"/>
                      <a:pt x="1076611" y="97744"/>
                      <a:pt x="1075166" y="97029"/>
                    </a:cubicBezTo>
                    <a:cubicBezTo>
                      <a:pt x="1072274" y="93811"/>
                      <a:pt x="1068298" y="92202"/>
                      <a:pt x="1064232" y="92202"/>
                    </a:cubicBezTo>
                    <a:close/>
                    <a:moveTo>
                      <a:pt x="832198" y="92202"/>
                    </a:moveTo>
                    <a:cubicBezTo>
                      <a:pt x="828188" y="92202"/>
                      <a:pt x="824088" y="93811"/>
                      <a:pt x="820879" y="97029"/>
                    </a:cubicBezTo>
                    <a:cubicBezTo>
                      <a:pt x="820166" y="97744"/>
                      <a:pt x="795923" y="122772"/>
                      <a:pt x="783801" y="162817"/>
                    </a:cubicBezTo>
                    <a:cubicBezTo>
                      <a:pt x="772393" y="200002"/>
                      <a:pt x="769540" y="256494"/>
                      <a:pt x="817314" y="320137"/>
                    </a:cubicBezTo>
                    <a:cubicBezTo>
                      <a:pt x="818027" y="320852"/>
                      <a:pt x="818740" y="321567"/>
                      <a:pt x="819453" y="322997"/>
                    </a:cubicBezTo>
                    <a:cubicBezTo>
                      <a:pt x="823018" y="326573"/>
                      <a:pt x="827296" y="328718"/>
                      <a:pt x="832287" y="328718"/>
                    </a:cubicBezTo>
                    <a:cubicBezTo>
                      <a:pt x="835853" y="328718"/>
                      <a:pt x="838705" y="328003"/>
                      <a:pt x="841557" y="325858"/>
                    </a:cubicBezTo>
                    <a:cubicBezTo>
                      <a:pt x="847261" y="321567"/>
                      <a:pt x="848687" y="315131"/>
                      <a:pt x="847261" y="308696"/>
                    </a:cubicBezTo>
                    <a:cubicBezTo>
                      <a:pt x="846548" y="307265"/>
                      <a:pt x="845835" y="305120"/>
                      <a:pt x="844409" y="303690"/>
                    </a:cubicBezTo>
                    <a:cubicBezTo>
                      <a:pt x="765262" y="202147"/>
                      <a:pt x="840131" y="122057"/>
                      <a:pt x="842983" y="119197"/>
                    </a:cubicBezTo>
                    <a:cubicBezTo>
                      <a:pt x="849400" y="112761"/>
                      <a:pt x="849400" y="102750"/>
                      <a:pt x="842983" y="97029"/>
                    </a:cubicBezTo>
                    <a:cubicBezTo>
                      <a:pt x="840131" y="93811"/>
                      <a:pt x="836209" y="92202"/>
                      <a:pt x="832198" y="92202"/>
                    </a:cubicBezTo>
                    <a:close/>
                    <a:moveTo>
                      <a:pt x="948141" y="0"/>
                    </a:moveTo>
                    <a:cubicBezTo>
                      <a:pt x="1002229" y="0"/>
                      <a:pt x="1056227" y="20533"/>
                      <a:pt x="1097351" y="61597"/>
                    </a:cubicBezTo>
                    <a:cubicBezTo>
                      <a:pt x="1179600" y="143726"/>
                      <a:pt x="1179600" y="277275"/>
                      <a:pt x="1097351" y="360119"/>
                    </a:cubicBezTo>
                    <a:cubicBezTo>
                      <a:pt x="1018679" y="438677"/>
                      <a:pt x="893517" y="442248"/>
                      <a:pt x="810553" y="370831"/>
                    </a:cubicBezTo>
                    <a:cubicBezTo>
                      <a:pt x="810553" y="370831"/>
                      <a:pt x="810553" y="370831"/>
                      <a:pt x="664651" y="516521"/>
                    </a:cubicBezTo>
                    <a:cubicBezTo>
                      <a:pt x="661790" y="519378"/>
                      <a:pt x="657499" y="520806"/>
                      <a:pt x="653923" y="520806"/>
                    </a:cubicBezTo>
                    <a:cubicBezTo>
                      <a:pt x="649632" y="520806"/>
                      <a:pt x="646056" y="519378"/>
                      <a:pt x="642480" y="516521"/>
                    </a:cubicBezTo>
                    <a:cubicBezTo>
                      <a:pt x="626030" y="500095"/>
                      <a:pt x="604574" y="490811"/>
                      <a:pt x="580972" y="490811"/>
                    </a:cubicBezTo>
                    <a:cubicBezTo>
                      <a:pt x="572389" y="490811"/>
                      <a:pt x="565237" y="483669"/>
                      <a:pt x="565237" y="475100"/>
                    </a:cubicBezTo>
                    <a:cubicBezTo>
                      <a:pt x="565237" y="466530"/>
                      <a:pt x="572389" y="459388"/>
                      <a:pt x="580972" y="459388"/>
                    </a:cubicBezTo>
                    <a:cubicBezTo>
                      <a:pt x="607434" y="459388"/>
                      <a:pt x="632467" y="467958"/>
                      <a:pt x="653208" y="483669"/>
                    </a:cubicBezTo>
                    <a:cubicBezTo>
                      <a:pt x="653208" y="483669"/>
                      <a:pt x="653208" y="483669"/>
                      <a:pt x="788382" y="348692"/>
                    </a:cubicBezTo>
                    <a:cubicBezTo>
                      <a:pt x="716146" y="265849"/>
                      <a:pt x="719722" y="140156"/>
                      <a:pt x="798395" y="61597"/>
                    </a:cubicBezTo>
                    <a:cubicBezTo>
                      <a:pt x="839877" y="20533"/>
                      <a:pt x="894054" y="0"/>
                      <a:pt x="948141"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4" name="Freeform 73"/>
              <p:cNvSpPr>
                <a:spLocks/>
              </p:cNvSpPr>
              <p:nvPr/>
            </p:nvSpPr>
            <p:spPr bwMode="auto">
              <a:xfrm>
                <a:off x="6705514" y="2849420"/>
                <a:ext cx="1162223" cy="1160746"/>
              </a:xfrm>
              <a:custGeom>
                <a:avLst/>
                <a:gdLst>
                  <a:gd name="connsiteX0" fmla="*/ 888325 w 1162223"/>
                  <a:gd name="connsiteY0" fmla="*/ 827229 h 1160746"/>
                  <a:gd name="connsiteX1" fmla="*/ 879747 w 1162223"/>
                  <a:gd name="connsiteY1" fmla="*/ 830791 h 1160746"/>
                  <a:gd name="connsiteX2" fmla="*/ 845435 w 1162223"/>
                  <a:gd name="connsiteY2" fmla="*/ 864980 h 1160746"/>
                  <a:gd name="connsiteX3" fmla="*/ 841146 w 1162223"/>
                  <a:gd name="connsiteY3" fmla="*/ 871391 h 1160746"/>
                  <a:gd name="connsiteX4" fmla="*/ 839001 w 1162223"/>
                  <a:gd name="connsiteY4" fmla="*/ 878513 h 1160746"/>
                  <a:gd name="connsiteX5" fmla="*/ 838286 w 1162223"/>
                  <a:gd name="connsiteY5" fmla="*/ 883499 h 1160746"/>
                  <a:gd name="connsiteX6" fmla="*/ 839716 w 1162223"/>
                  <a:gd name="connsiteY6" fmla="*/ 896320 h 1160746"/>
                  <a:gd name="connsiteX7" fmla="*/ 844720 w 1162223"/>
                  <a:gd name="connsiteY7" fmla="*/ 915552 h 1160746"/>
                  <a:gd name="connsiteX8" fmla="*/ 855442 w 1162223"/>
                  <a:gd name="connsiteY8" fmla="*/ 940482 h 1160746"/>
                  <a:gd name="connsiteX9" fmla="*/ 874028 w 1162223"/>
                  <a:gd name="connsiteY9" fmla="*/ 970398 h 1160746"/>
                  <a:gd name="connsiteX10" fmla="*/ 904051 w 1162223"/>
                  <a:gd name="connsiteY10" fmla="*/ 1004587 h 1160746"/>
                  <a:gd name="connsiteX11" fmla="*/ 946942 w 1162223"/>
                  <a:gd name="connsiteY11" fmla="*/ 1040201 h 1160746"/>
                  <a:gd name="connsiteX12" fmla="*/ 983399 w 1162223"/>
                  <a:gd name="connsiteY12" fmla="*/ 1060145 h 1160746"/>
                  <a:gd name="connsiteX13" fmla="*/ 1009848 w 1162223"/>
                  <a:gd name="connsiteY13" fmla="*/ 1068693 h 1160746"/>
                  <a:gd name="connsiteX14" fmla="*/ 1025574 w 1162223"/>
                  <a:gd name="connsiteY14" fmla="*/ 1070117 h 1160746"/>
                  <a:gd name="connsiteX15" fmla="*/ 1029148 w 1162223"/>
                  <a:gd name="connsiteY15" fmla="*/ 1070117 h 1160746"/>
                  <a:gd name="connsiteX16" fmla="*/ 1030578 w 1162223"/>
                  <a:gd name="connsiteY16" fmla="*/ 1070117 h 1160746"/>
                  <a:gd name="connsiteX17" fmla="*/ 1037726 w 1162223"/>
                  <a:gd name="connsiteY17" fmla="*/ 1067268 h 1160746"/>
                  <a:gd name="connsiteX18" fmla="*/ 1044160 w 1162223"/>
                  <a:gd name="connsiteY18" fmla="*/ 1062994 h 1160746"/>
                  <a:gd name="connsiteX19" fmla="*/ 1078472 w 1162223"/>
                  <a:gd name="connsiteY19" fmla="*/ 1029517 h 1160746"/>
                  <a:gd name="connsiteX20" fmla="*/ 1082046 w 1162223"/>
                  <a:gd name="connsiteY20" fmla="*/ 1018833 h 1160746"/>
                  <a:gd name="connsiteX21" fmla="*/ 1075613 w 1162223"/>
                  <a:gd name="connsiteY21" fmla="*/ 1010285 h 1160746"/>
                  <a:gd name="connsiteX22" fmla="*/ 1025574 w 1162223"/>
                  <a:gd name="connsiteY22" fmla="*/ 981082 h 1160746"/>
                  <a:gd name="connsiteX23" fmla="*/ 1018426 w 1162223"/>
                  <a:gd name="connsiteY23" fmla="*/ 979657 h 1160746"/>
                  <a:gd name="connsiteX24" fmla="*/ 1007703 w 1162223"/>
                  <a:gd name="connsiteY24" fmla="*/ 983931 h 1160746"/>
                  <a:gd name="connsiteX25" fmla="*/ 992692 w 1162223"/>
                  <a:gd name="connsiteY25" fmla="*/ 998889 h 1160746"/>
                  <a:gd name="connsiteX26" fmla="*/ 991262 w 1162223"/>
                  <a:gd name="connsiteY26" fmla="*/ 999601 h 1160746"/>
                  <a:gd name="connsiteX27" fmla="*/ 989832 w 1162223"/>
                  <a:gd name="connsiteY27" fmla="*/ 999601 h 1160746"/>
                  <a:gd name="connsiteX28" fmla="*/ 986258 w 1162223"/>
                  <a:gd name="connsiteY28" fmla="*/ 999601 h 1160746"/>
                  <a:gd name="connsiteX29" fmla="*/ 976965 w 1162223"/>
                  <a:gd name="connsiteY29" fmla="*/ 995328 h 1160746"/>
                  <a:gd name="connsiteX30" fmla="*/ 961953 w 1162223"/>
                  <a:gd name="connsiteY30" fmla="*/ 986068 h 1160746"/>
                  <a:gd name="connsiteX31" fmla="*/ 941223 w 1162223"/>
                  <a:gd name="connsiteY31" fmla="*/ 967549 h 1160746"/>
                  <a:gd name="connsiteX32" fmla="*/ 923352 w 1162223"/>
                  <a:gd name="connsiteY32" fmla="*/ 946892 h 1160746"/>
                  <a:gd name="connsiteX33" fmla="*/ 913344 w 1162223"/>
                  <a:gd name="connsiteY33" fmla="*/ 931935 h 1160746"/>
                  <a:gd name="connsiteX34" fmla="*/ 909055 w 1162223"/>
                  <a:gd name="connsiteY34" fmla="*/ 919826 h 1160746"/>
                  <a:gd name="connsiteX35" fmla="*/ 909055 w 1162223"/>
                  <a:gd name="connsiteY35" fmla="*/ 917689 h 1160746"/>
                  <a:gd name="connsiteX36" fmla="*/ 910485 w 1162223"/>
                  <a:gd name="connsiteY36" fmla="*/ 916264 h 1160746"/>
                  <a:gd name="connsiteX37" fmla="*/ 922637 w 1162223"/>
                  <a:gd name="connsiteY37" fmla="*/ 903443 h 1160746"/>
                  <a:gd name="connsiteX38" fmla="*/ 926926 w 1162223"/>
                  <a:gd name="connsiteY38" fmla="*/ 895608 h 1160746"/>
                  <a:gd name="connsiteX39" fmla="*/ 926211 w 1162223"/>
                  <a:gd name="connsiteY39" fmla="*/ 886348 h 1160746"/>
                  <a:gd name="connsiteX40" fmla="*/ 898333 w 1162223"/>
                  <a:gd name="connsiteY40" fmla="*/ 834352 h 1160746"/>
                  <a:gd name="connsiteX41" fmla="*/ 894044 w 1162223"/>
                  <a:gd name="connsiteY41" fmla="*/ 829366 h 1160746"/>
                  <a:gd name="connsiteX42" fmla="*/ 888325 w 1162223"/>
                  <a:gd name="connsiteY42" fmla="*/ 827229 h 1160746"/>
                  <a:gd name="connsiteX43" fmla="*/ 683850 w 1162223"/>
                  <a:gd name="connsiteY43" fmla="*/ 565292 h 1160746"/>
                  <a:gd name="connsiteX44" fmla="*/ 699576 w 1162223"/>
                  <a:gd name="connsiteY44" fmla="*/ 580976 h 1160746"/>
                  <a:gd name="connsiteX45" fmla="*/ 675273 w 1162223"/>
                  <a:gd name="connsiteY45" fmla="*/ 652979 h 1160746"/>
                  <a:gd name="connsiteX46" fmla="*/ 813228 w 1162223"/>
                  <a:gd name="connsiteY46" fmla="*/ 790570 h 1160746"/>
                  <a:gd name="connsiteX47" fmla="*/ 1100573 w 1162223"/>
                  <a:gd name="connsiteY47" fmla="*/ 801264 h 1160746"/>
                  <a:gd name="connsiteX48" fmla="*/ 1100573 w 1162223"/>
                  <a:gd name="connsiteY48" fmla="*/ 1099258 h 1160746"/>
                  <a:gd name="connsiteX49" fmla="*/ 801791 w 1162223"/>
                  <a:gd name="connsiteY49" fmla="*/ 1099258 h 1160746"/>
                  <a:gd name="connsiteX50" fmla="*/ 791069 w 1162223"/>
                  <a:gd name="connsiteY50" fmla="*/ 812670 h 1160746"/>
                  <a:gd name="connsiteX51" fmla="*/ 642393 w 1162223"/>
                  <a:gd name="connsiteY51" fmla="*/ 664386 h 1160746"/>
                  <a:gd name="connsiteX52" fmla="*/ 642393 w 1162223"/>
                  <a:gd name="connsiteY52" fmla="*/ 642286 h 1160746"/>
                  <a:gd name="connsiteX53" fmla="*/ 668125 w 1162223"/>
                  <a:gd name="connsiteY53" fmla="*/ 580976 h 1160746"/>
                  <a:gd name="connsiteX54" fmla="*/ 683850 w 1162223"/>
                  <a:gd name="connsiteY54" fmla="*/ 565292 h 1160746"/>
                  <a:gd name="connsiteX55" fmla="*/ 95011 w 1162223"/>
                  <a:gd name="connsiteY55" fmla="*/ 135079 h 1160746"/>
                  <a:gd name="connsiteX56" fmla="*/ 326562 w 1162223"/>
                  <a:gd name="connsiteY56" fmla="*/ 135079 h 1160746"/>
                  <a:gd name="connsiteX57" fmla="*/ 328699 w 1162223"/>
                  <a:gd name="connsiteY57" fmla="*/ 137966 h 1160746"/>
                  <a:gd name="connsiteX58" fmla="*/ 328699 w 1162223"/>
                  <a:gd name="connsiteY58" fmla="*/ 251977 h 1160746"/>
                  <a:gd name="connsiteX59" fmla="*/ 326562 w 1162223"/>
                  <a:gd name="connsiteY59" fmla="*/ 254142 h 1160746"/>
                  <a:gd name="connsiteX60" fmla="*/ 225392 w 1162223"/>
                  <a:gd name="connsiteY60" fmla="*/ 254142 h 1160746"/>
                  <a:gd name="connsiteX61" fmla="*/ 195469 w 1162223"/>
                  <a:gd name="connsiteY61" fmla="*/ 254142 h 1160746"/>
                  <a:gd name="connsiteX62" fmla="*/ 95011 w 1162223"/>
                  <a:gd name="connsiteY62" fmla="*/ 254142 h 1160746"/>
                  <a:gd name="connsiteX63" fmla="*/ 92161 w 1162223"/>
                  <a:gd name="connsiteY63" fmla="*/ 251977 h 1160746"/>
                  <a:gd name="connsiteX64" fmla="*/ 92161 w 1162223"/>
                  <a:gd name="connsiteY64" fmla="*/ 137966 h 1160746"/>
                  <a:gd name="connsiteX65" fmla="*/ 95011 w 1162223"/>
                  <a:gd name="connsiteY65" fmla="*/ 135079 h 1160746"/>
                  <a:gd name="connsiteX66" fmla="*/ 74941 w 1162223"/>
                  <a:gd name="connsiteY66" fmla="*/ 114442 h 1160746"/>
                  <a:gd name="connsiteX67" fmla="*/ 69936 w 1162223"/>
                  <a:gd name="connsiteY67" fmla="*/ 119418 h 1160746"/>
                  <a:gd name="connsiteX68" fmla="*/ 69936 w 1162223"/>
                  <a:gd name="connsiteY68" fmla="*/ 269401 h 1160746"/>
                  <a:gd name="connsiteX69" fmla="*/ 74941 w 1162223"/>
                  <a:gd name="connsiteY69" fmla="*/ 275088 h 1160746"/>
                  <a:gd name="connsiteX70" fmla="*/ 186478 w 1162223"/>
                  <a:gd name="connsiteY70" fmla="*/ 275088 h 1160746"/>
                  <a:gd name="connsiteX71" fmla="*/ 186478 w 1162223"/>
                  <a:gd name="connsiteY71" fmla="*/ 278642 h 1160746"/>
                  <a:gd name="connsiteX72" fmla="*/ 167174 w 1162223"/>
                  <a:gd name="connsiteY72" fmla="*/ 295701 h 1160746"/>
                  <a:gd name="connsiteX73" fmla="*/ 165744 w 1162223"/>
                  <a:gd name="connsiteY73" fmla="*/ 301388 h 1160746"/>
                  <a:gd name="connsiteX74" fmla="*/ 170749 w 1162223"/>
                  <a:gd name="connsiteY74" fmla="*/ 304942 h 1160746"/>
                  <a:gd name="connsiteX75" fmla="*/ 250112 w 1162223"/>
                  <a:gd name="connsiteY75" fmla="*/ 304942 h 1160746"/>
                  <a:gd name="connsiteX76" fmla="*/ 255117 w 1162223"/>
                  <a:gd name="connsiteY76" fmla="*/ 301388 h 1160746"/>
                  <a:gd name="connsiteX77" fmla="*/ 253687 w 1162223"/>
                  <a:gd name="connsiteY77" fmla="*/ 295701 h 1160746"/>
                  <a:gd name="connsiteX78" fmla="*/ 233667 w 1162223"/>
                  <a:gd name="connsiteY78" fmla="*/ 278642 h 1160746"/>
                  <a:gd name="connsiteX79" fmla="*/ 233667 w 1162223"/>
                  <a:gd name="connsiteY79" fmla="*/ 275088 h 1160746"/>
                  <a:gd name="connsiteX80" fmla="*/ 345204 w 1162223"/>
                  <a:gd name="connsiteY80" fmla="*/ 275088 h 1160746"/>
                  <a:gd name="connsiteX81" fmla="*/ 350924 w 1162223"/>
                  <a:gd name="connsiteY81" fmla="*/ 269401 h 1160746"/>
                  <a:gd name="connsiteX82" fmla="*/ 350924 w 1162223"/>
                  <a:gd name="connsiteY82" fmla="*/ 119418 h 1160746"/>
                  <a:gd name="connsiteX83" fmla="*/ 345204 w 1162223"/>
                  <a:gd name="connsiteY83" fmla="*/ 114442 h 1160746"/>
                  <a:gd name="connsiteX84" fmla="*/ 74941 w 1162223"/>
                  <a:gd name="connsiteY84" fmla="*/ 114442 h 1160746"/>
                  <a:gd name="connsiteX85" fmla="*/ 211309 w 1162223"/>
                  <a:gd name="connsiteY85" fmla="*/ 0 h 1160746"/>
                  <a:gd name="connsiteX86" fmla="*/ 360433 w 1162223"/>
                  <a:gd name="connsiteY86" fmla="*/ 61488 h 1160746"/>
                  <a:gd name="connsiteX87" fmla="*/ 371154 w 1162223"/>
                  <a:gd name="connsiteY87" fmla="*/ 348076 h 1160746"/>
                  <a:gd name="connsiteX88" fmla="*/ 519831 w 1162223"/>
                  <a:gd name="connsiteY88" fmla="*/ 496360 h 1160746"/>
                  <a:gd name="connsiteX89" fmla="*/ 519831 w 1162223"/>
                  <a:gd name="connsiteY89" fmla="*/ 518460 h 1160746"/>
                  <a:gd name="connsiteX90" fmla="*/ 494098 w 1162223"/>
                  <a:gd name="connsiteY90" fmla="*/ 579770 h 1160746"/>
                  <a:gd name="connsiteX91" fmla="*/ 478373 w 1162223"/>
                  <a:gd name="connsiteY91" fmla="*/ 595454 h 1160746"/>
                  <a:gd name="connsiteX92" fmla="*/ 462648 w 1162223"/>
                  <a:gd name="connsiteY92" fmla="*/ 579770 h 1160746"/>
                  <a:gd name="connsiteX93" fmla="*/ 486951 w 1162223"/>
                  <a:gd name="connsiteY93" fmla="*/ 507767 h 1160746"/>
                  <a:gd name="connsiteX94" fmla="*/ 348996 w 1162223"/>
                  <a:gd name="connsiteY94" fmla="*/ 370176 h 1160746"/>
                  <a:gd name="connsiteX95" fmla="*/ 61650 w 1162223"/>
                  <a:gd name="connsiteY95" fmla="*/ 359483 h 1160746"/>
                  <a:gd name="connsiteX96" fmla="*/ 61650 w 1162223"/>
                  <a:gd name="connsiteY96" fmla="*/ 61488 h 1160746"/>
                  <a:gd name="connsiteX97" fmla="*/ 211309 w 1162223"/>
                  <a:gd name="connsiteY97" fmla="*/ 0 h 116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62223" h="1160746">
                    <a:moveTo>
                      <a:pt x="888325" y="827229"/>
                    </a:moveTo>
                    <a:cubicBezTo>
                      <a:pt x="884751" y="827229"/>
                      <a:pt x="881891" y="828654"/>
                      <a:pt x="879747" y="830791"/>
                    </a:cubicBezTo>
                    <a:cubicBezTo>
                      <a:pt x="879747" y="830791"/>
                      <a:pt x="879747" y="830791"/>
                      <a:pt x="845435" y="864980"/>
                    </a:cubicBezTo>
                    <a:cubicBezTo>
                      <a:pt x="844005" y="866405"/>
                      <a:pt x="842575" y="868541"/>
                      <a:pt x="841146" y="871391"/>
                    </a:cubicBezTo>
                    <a:cubicBezTo>
                      <a:pt x="839716" y="873527"/>
                      <a:pt x="839001" y="876377"/>
                      <a:pt x="839001" y="878513"/>
                    </a:cubicBezTo>
                    <a:cubicBezTo>
                      <a:pt x="839001" y="879226"/>
                      <a:pt x="839001" y="880650"/>
                      <a:pt x="838286" y="883499"/>
                    </a:cubicBezTo>
                    <a:cubicBezTo>
                      <a:pt x="838286" y="887061"/>
                      <a:pt x="839001" y="891334"/>
                      <a:pt x="839716" y="896320"/>
                    </a:cubicBezTo>
                    <a:cubicBezTo>
                      <a:pt x="840431" y="902019"/>
                      <a:pt x="841860" y="908429"/>
                      <a:pt x="844720" y="915552"/>
                    </a:cubicBezTo>
                    <a:cubicBezTo>
                      <a:pt x="846864" y="923387"/>
                      <a:pt x="850439" y="931222"/>
                      <a:pt x="855442" y="940482"/>
                    </a:cubicBezTo>
                    <a:cubicBezTo>
                      <a:pt x="859731" y="949742"/>
                      <a:pt x="866165" y="959713"/>
                      <a:pt x="874028" y="970398"/>
                    </a:cubicBezTo>
                    <a:cubicBezTo>
                      <a:pt x="882606" y="981082"/>
                      <a:pt x="891899" y="992478"/>
                      <a:pt x="904051" y="1004587"/>
                    </a:cubicBezTo>
                    <a:cubicBezTo>
                      <a:pt x="919063" y="1019545"/>
                      <a:pt x="933360" y="1031654"/>
                      <a:pt x="946942" y="1040201"/>
                    </a:cubicBezTo>
                    <a:cubicBezTo>
                      <a:pt x="960524" y="1049461"/>
                      <a:pt x="972676" y="1055872"/>
                      <a:pt x="983399" y="1060145"/>
                    </a:cubicBezTo>
                    <a:cubicBezTo>
                      <a:pt x="993406" y="1064419"/>
                      <a:pt x="1002699" y="1067268"/>
                      <a:pt x="1009848" y="1068693"/>
                    </a:cubicBezTo>
                    <a:cubicBezTo>
                      <a:pt x="1016996" y="1069405"/>
                      <a:pt x="1022715" y="1070117"/>
                      <a:pt x="1025574" y="1070117"/>
                    </a:cubicBezTo>
                    <a:cubicBezTo>
                      <a:pt x="1027004" y="1070117"/>
                      <a:pt x="1028433" y="1070117"/>
                      <a:pt x="1029148" y="1070117"/>
                    </a:cubicBezTo>
                    <a:cubicBezTo>
                      <a:pt x="1029863" y="1070117"/>
                      <a:pt x="1030578" y="1070117"/>
                      <a:pt x="1030578" y="1070117"/>
                    </a:cubicBezTo>
                    <a:cubicBezTo>
                      <a:pt x="1033437" y="1069405"/>
                      <a:pt x="1035582" y="1068693"/>
                      <a:pt x="1037726" y="1067268"/>
                    </a:cubicBezTo>
                    <a:cubicBezTo>
                      <a:pt x="1040586" y="1066556"/>
                      <a:pt x="1042730" y="1065131"/>
                      <a:pt x="1044160" y="1062994"/>
                    </a:cubicBezTo>
                    <a:cubicBezTo>
                      <a:pt x="1044160" y="1062994"/>
                      <a:pt x="1044160" y="1062994"/>
                      <a:pt x="1078472" y="1029517"/>
                    </a:cubicBezTo>
                    <a:cubicBezTo>
                      <a:pt x="1081332" y="1026668"/>
                      <a:pt x="1082761" y="1023107"/>
                      <a:pt x="1082046" y="1018833"/>
                    </a:cubicBezTo>
                    <a:cubicBezTo>
                      <a:pt x="1081332" y="1015271"/>
                      <a:pt x="1079187" y="1012422"/>
                      <a:pt x="1075613" y="1010285"/>
                    </a:cubicBezTo>
                    <a:cubicBezTo>
                      <a:pt x="1075613" y="1010285"/>
                      <a:pt x="1075613" y="1010285"/>
                      <a:pt x="1025574" y="981082"/>
                    </a:cubicBezTo>
                    <a:cubicBezTo>
                      <a:pt x="1024144" y="980370"/>
                      <a:pt x="1021285" y="979657"/>
                      <a:pt x="1018426" y="979657"/>
                    </a:cubicBezTo>
                    <a:cubicBezTo>
                      <a:pt x="1014137" y="979657"/>
                      <a:pt x="1010562" y="981082"/>
                      <a:pt x="1007703" y="983931"/>
                    </a:cubicBezTo>
                    <a:cubicBezTo>
                      <a:pt x="1007703" y="983931"/>
                      <a:pt x="1007703" y="983931"/>
                      <a:pt x="992692" y="998889"/>
                    </a:cubicBezTo>
                    <a:cubicBezTo>
                      <a:pt x="992692" y="998889"/>
                      <a:pt x="991977" y="999601"/>
                      <a:pt x="991262" y="999601"/>
                    </a:cubicBezTo>
                    <a:cubicBezTo>
                      <a:pt x="990547" y="999601"/>
                      <a:pt x="989832" y="999601"/>
                      <a:pt x="989832" y="999601"/>
                    </a:cubicBezTo>
                    <a:cubicBezTo>
                      <a:pt x="989832" y="999601"/>
                      <a:pt x="989832" y="999601"/>
                      <a:pt x="986258" y="999601"/>
                    </a:cubicBezTo>
                    <a:cubicBezTo>
                      <a:pt x="984113" y="998889"/>
                      <a:pt x="981254" y="997464"/>
                      <a:pt x="976965" y="995328"/>
                    </a:cubicBezTo>
                    <a:cubicBezTo>
                      <a:pt x="973391" y="993191"/>
                      <a:pt x="968387" y="990342"/>
                      <a:pt x="961953" y="986068"/>
                    </a:cubicBezTo>
                    <a:cubicBezTo>
                      <a:pt x="956235" y="981794"/>
                      <a:pt x="949086" y="975384"/>
                      <a:pt x="941223" y="967549"/>
                    </a:cubicBezTo>
                    <a:cubicBezTo>
                      <a:pt x="933360" y="959713"/>
                      <a:pt x="927641" y="953303"/>
                      <a:pt x="923352" y="946892"/>
                    </a:cubicBezTo>
                    <a:cubicBezTo>
                      <a:pt x="919063" y="941194"/>
                      <a:pt x="915489" y="936208"/>
                      <a:pt x="913344" y="931935"/>
                    </a:cubicBezTo>
                    <a:cubicBezTo>
                      <a:pt x="911200" y="927661"/>
                      <a:pt x="909770" y="923387"/>
                      <a:pt x="909055" y="919826"/>
                    </a:cubicBezTo>
                    <a:cubicBezTo>
                      <a:pt x="909055" y="919113"/>
                      <a:pt x="909055" y="918401"/>
                      <a:pt x="909055" y="917689"/>
                    </a:cubicBezTo>
                    <a:cubicBezTo>
                      <a:pt x="909770" y="916977"/>
                      <a:pt x="909770" y="916264"/>
                      <a:pt x="910485" y="916264"/>
                    </a:cubicBezTo>
                    <a:cubicBezTo>
                      <a:pt x="910485" y="916264"/>
                      <a:pt x="910485" y="916264"/>
                      <a:pt x="922637" y="903443"/>
                    </a:cubicBezTo>
                    <a:cubicBezTo>
                      <a:pt x="924782" y="901306"/>
                      <a:pt x="926211" y="898457"/>
                      <a:pt x="926926" y="895608"/>
                    </a:cubicBezTo>
                    <a:cubicBezTo>
                      <a:pt x="927641" y="892047"/>
                      <a:pt x="927641" y="889198"/>
                      <a:pt x="926211" y="886348"/>
                    </a:cubicBezTo>
                    <a:cubicBezTo>
                      <a:pt x="926211" y="886348"/>
                      <a:pt x="926211" y="886348"/>
                      <a:pt x="898333" y="834352"/>
                    </a:cubicBezTo>
                    <a:cubicBezTo>
                      <a:pt x="896903" y="832215"/>
                      <a:pt x="895473" y="830791"/>
                      <a:pt x="894044" y="829366"/>
                    </a:cubicBezTo>
                    <a:cubicBezTo>
                      <a:pt x="891899" y="827941"/>
                      <a:pt x="890470" y="827229"/>
                      <a:pt x="888325" y="827229"/>
                    </a:cubicBezTo>
                    <a:close/>
                    <a:moveTo>
                      <a:pt x="683850" y="565292"/>
                    </a:moveTo>
                    <a:cubicBezTo>
                      <a:pt x="692428" y="565292"/>
                      <a:pt x="699576" y="572421"/>
                      <a:pt x="699576" y="580976"/>
                    </a:cubicBezTo>
                    <a:cubicBezTo>
                      <a:pt x="699576" y="607354"/>
                      <a:pt x="690998" y="632305"/>
                      <a:pt x="675273" y="652979"/>
                    </a:cubicBezTo>
                    <a:cubicBezTo>
                      <a:pt x="675273" y="652979"/>
                      <a:pt x="675273" y="652979"/>
                      <a:pt x="813228" y="790570"/>
                    </a:cubicBezTo>
                    <a:cubicBezTo>
                      <a:pt x="896143" y="719280"/>
                      <a:pt x="1021946" y="722844"/>
                      <a:pt x="1100573" y="801264"/>
                    </a:cubicBezTo>
                    <a:cubicBezTo>
                      <a:pt x="1182774" y="883248"/>
                      <a:pt x="1182774" y="1016561"/>
                      <a:pt x="1100573" y="1099258"/>
                    </a:cubicBezTo>
                    <a:cubicBezTo>
                      <a:pt x="1017658" y="1181242"/>
                      <a:pt x="883992" y="1181242"/>
                      <a:pt x="801791" y="1099258"/>
                    </a:cubicBezTo>
                    <a:cubicBezTo>
                      <a:pt x="723164" y="1020838"/>
                      <a:pt x="719590" y="895367"/>
                      <a:pt x="791069" y="812670"/>
                    </a:cubicBezTo>
                    <a:cubicBezTo>
                      <a:pt x="791069" y="812670"/>
                      <a:pt x="791069" y="812670"/>
                      <a:pt x="642393" y="664386"/>
                    </a:cubicBezTo>
                    <a:cubicBezTo>
                      <a:pt x="636674" y="658683"/>
                      <a:pt x="636674" y="648702"/>
                      <a:pt x="642393" y="642286"/>
                    </a:cubicBezTo>
                    <a:cubicBezTo>
                      <a:pt x="658833" y="625889"/>
                      <a:pt x="668125" y="604502"/>
                      <a:pt x="668125" y="580976"/>
                    </a:cubicBezTo>
                    <a:cubicBezTo>
                      <a:pt x="668125" y="572421"/>
                      <a:pt x="675273" y="565292"/>
                      <a:pt x="683850" y="565292"/>
                    </a:cubicBezTo>
                    <a:close/>
                    <a:moveTo>
                      <a:pt x="95011" y="135079"/>
                    </a:moveTo>
                    <a:cubicBezTo>
                      <a:pt x="95011" y="135079"/>
                      <a:pt x="95011" y="135079"/>
                      <a:pt x="326562" y="135079"/>
                    </a:cubicBezTo>
                    <a:cubicBezTo>
                      <a:pt x="327274" y="135079"/>
                      <a:pt x="328699" y="136522"/>
                      <a:pt x="328699" y="137966"/>
                    </a:cubicBezTo>
                    <a:cubicBezTo>
                      <a:pt x="328699" y="137966"/>
                      <a:pt x="328699" y="137966"/>
                      <a:pt x="328699" y="251977"/>
                    </a:cubicBezTo>
                    <a:cubicBezTo>
                      <a:pt x="328699" y="252699"/>
                      <a:pt x="327274" y="254142"/>
                      <a:pt x="326562" y="254142"/>
                    </a:cubicBezTo>
                    <a:cubicBezTo>
                      <a:pt x="326562" y="254142"/>
                      <a:pt x="326562" y="254142"/>
                      <a:pt x="225392" y="254142"/>
                    </a:cubicBezTo>
                    <a:cubicBezTo>
                      <a:pt x="217555" y="254142"/>
                      <a:pt x="203306" y="254142"/>
                      <a:pt x="195469" y="254142"/>
                    </a:cubicBezTo>
                    <a:cubicBezTo>
                      <a:pt x="195469" y="254142"/>
                      <a:pt x="195469" y="254142"/>
                      <a:pt x="95011" y="254142"/>
                    </a:cubicBezTo>
                    <a:cubicBezTo>
                      <a:pt x="93586" y="254142"/>
                      <a:pt x="92161" y="252699"/>
                      <a:pt x="92161" y="251977"/>
                    </a:cubicBezTo>
                    <a:cubicBezTo>
                      <a:pt x="92161" y="251977"/>
                      <a:pt x="92161" y="251977"/>
                      <a:pt x="92161" y="137966"/>
                    </a:cubicBezTo>
                    <a:cubicBezTo>
                      <a:pt x="92161" y="136522"/>
                      <a:pt x="93586" y="135079"/>
                      <a:pt x="95011" y="135079"/>
                    </a:cubicBezTo>
                    <a:close/>
                    <a:moveTo>
                      <a:pt x="74941" y="114442"/>
                    </a:moveTo>
                    <a:cubicBezTo>
                      <a:pt x="72081" y="114442"/>
                      <a:pt x="69936" y="116575"/>
                      <a:pt x="69936" y="119418"/>
                    </a:cubicBezTo>
                    <a:cubicBezTo>
                      <a:pt x="69936" y="119418"/>
                      <a:pt x="69936" y="119418"/>
                      <a:pt x="69936" y="269401"/>
                    </a:cubicBezTo>
                    <a:cubicBezTo>
                      <a:pt x="69936" y="272244"/>
                      <a:pt x="72081" y="275088"/>
                      <a:pt x="74941" y="275088"/>
                    </a:cubicBezTo>
                    <a:cubicBezTo>
                      <a:pt x="74941" y="275088"/>
                      <a:pt x="74941" y="275088"/>
                      <a:pt x="186478" y="275088"/>
                    </a:cubicBezTo>
                    <a:cubicBezTo>
                      <a:pt x="186478" y="275088"/>
                      <a:pt x="186478" y="275088"/>
                      <a:pt x="186478" y="278642"/>
                    </a:cubicBezTo>
                    <a:cubicBezTo>
                      <a:pt x="186478" y="278642"/>
                      <a:pt x="186478" y="278642"/>
                      <a:pt x="167174" y="295701"/>
                    </a:cubicBezTo>
                    <a:cubicBezTo>
                      <a:pt x="165029" y="297123"/>
                      <a:pt x="165029" y="299256"/>
                      <a:pt x="165744" y="301388"/>
                    </a:cubicBezTo>
                    <a:cubicBezTo>
                      <a:pt x="166459" y="303520"/>
                      <a:pt x="168604" y="304942"/>
                      <a:pt x="170749" y="304942"/>
                    </a:cubicBezTo>
                    <a:cubicBezTo>
                      <a:pt x="170749" y="304942"/>
                      <a:pt x="170749" y="304942"/>
                      <a:pt x="250112" y="304942"/>
                    </a:cubicBezTo>
                    <a:cubicBezTo>
                      <a:pt x="252257" y="304942"/>
                      <a:pt x="254402" y="303520"/>
                      <a:pt x="255117" y="301388"/>
                    </a:cubicBezTo>
                    <a:cubicBezTo>
                      <a:pt x="255832" y="299256"/>
                      <a:pt x="255117" y="297123"/>
                      <a:pt x="253687" y="295701"/>
                    </a:cubicBezTo>
                    <a:cubicBezTo>
                      <a:pt x="253687" y="295701"/>
                      <a:pt x="253687" y="295701"/>
                      <a:pt x="233667" y="278642"/>
                    </a:cubicBezTo>
                    <a:cubicBezTo>
                      <a:pt x="233667" y="278642"/>
                      <a:pt x="233667" y="278642"/>
                      <a:pt x="233667" y="275088"/>
                    </a:cubicBezTo>
                    <a:cubicBezTo>
                      <a:pt x="233667" y="275088"/>
                      <a:pt x="233667" y="275088"/>
                      <a:pt x="345204" y="275088"/>
                    </a:cubicBezTo>
                    <a:cubicBezTo>
                      <a:pt x="348064" y="275088"/>
                      <a:pt x="350924" y="272244"/>
                      <a:pt x="350924" y="269401"/>
                    </a:cubicBezTo>
                    <a:cubicBezTo>
                      <a:pt x="350924" y="269401"/>
                      <a:pt x="350924" y="269401"/>
                      <a:pt x="350924" y="119418"/>
                    </a:cubicBezTo>
                    <a:cubicBezTo>
                      <a:pt x="350924" y="116575"/>
                      <a:pt x="348064" y="114442"/>
                      <a:pt x="345204" y="114442"/>
                    </a:cubicBezTo>
                    <a:cubicBezTo>
                      <a:pt x="345204" y="114442"/>
                      <a:pt x="345204" y="114442"/>
                      <a:pt x="74941" y="114442"/>
                    </a:cubicBezTo>
                    <a:close/>
                    <a:moveTo>
                      <a:pt x="211309" y="0"/>
                    </a:moveTo>
                    <a:cubicBezTo>
                      <a:pt x="265366" y="0"/>
                      <a:pt x="319332" y="20496"/>
                      <a:pt x="360433" y="61488"/>
                    </a:cubicBezTo>
                    <a:cubicBezTo>
                      <a:pt x="439060" y="139908"/>
                      <a:pt x="442634" y="265379"/>
                      <a:pt x="371154" y="348076"/>
                    </a:cubicBezTo>
                    <a:lnTo>
                      <a:pt x="519831" y="496360"/>
                    </a:lnTo>
                    <a:cubicBezTo>
                      <a:pt x="525549" y="502064"/>
                      <a:pt x="525549" y="512044"/>
                      <a:pt x="519831" y="518460"/>
                    </a:cubicBezTo>
                    <a:cubicBezTo>
                      <a:pt x="503391" y="534857"/>
                      <a:pt x="494098" y="556244"/>
                      <a:pt x="494098" y="579770"/>
                    </a:cubicBezTo>
                    <a:cubicBezTo>
                      <a:pt x="494098" y="588325"/>
                      <a:pt x="486951" y="595454"/>
                      <a:pt x="478373" y="595454"/>
                    </a:cubicBezTo>
                    <a:cubicBezTo>
                      <a:pt x="469796" y="595454"/>
                      <a:pt x="462648" y="588325"/>
                      <a:pt x="462648" y="579770"/>
                    </a:cubicBezTo>
                    <a:cubicBezTo>
                      <a:pt x="462648" y="553393"/>
                      <a:pt x="471225" y="528441"/>
                      <a:pt x="486951" y="507767"/>
                    </a:cubicBezTo>
                    <a:cubicBezTo>
                      <a:pt x="486951" y="507767"/>
                      <a:pt x="486951" y="507767"/>
                      <a:pt x="348996" y="370176"/>
                    </a:cubicBezTo>
                    <a:cubicBezTo>
                      <a:pt x="266080" y="441467"/>
                      <a:pt x="140277" y="437902"/>
                      <a:pt x="61650" y="359483"/>
                    </a:cubicBezTo>
                    <a:cubicBezTo>
                      <a:pt x="-20551" y="277498"/>
                      <a:pt x="-20551" y="144185"/>
                      <a:pt x="61650" y="61488"/>
                    </a:cubicBezTo>
                    <a:cubicBezTo>
                      <a:pt x="103108" y="20496"/>
                      <a:pt x="157253" y="0"/>
                      <a:pt x="21130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260168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0924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6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7" name="Picture Placeholder 6"/>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16641" r="16641"/>
          <a:stretch>
            <a:fillRect/>
          </a:stretch>
        </p:blipFill>
        <p:spPr/>
      </p:pic>
      <p:sp>
        <p:nvSpPr>
          <p:cNvPr id="3" name="Title 2"/>
          <p:cNvSpPr>
            <a:spLocks noGrp="1"/>
          </p:cNvSpPr>
          <p:nvPr>
            <p:ph type="title"/>
          </p:nvPr>
        </p:nvSpPr>
        <p:spPr>
          <a:xfrm>
            <a:off x="433136" y="1785600"/>
            <a:ext cx="5467150" cy="3286800"/>
          </a:xfrm>
        </p:spPr>
        <p:txBody>
          <a:bodyPr/>
          <a:lstStyle/>
          <a:p>
            <a:r>
              <a:rPr lang="es-CL" sz="3600" dirty="0"/>
              <a:t>¿Cómo debemos enfrentar la crisis desde una mirada con foco en las personas?</a:t>
            </a:r>
          </a:p>
        </p:txBody>
      </p:sp>
    </p:spTree>
    <p:extLst>
      <p:ext uri="{BB962C8B-B14F-4D97-AF65-F5344CB8AC3E}">
        <p14:creationId xmlns:p14="http://schemas.microsoft.com/office/powerpoint/2010/main" val="3453335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5"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622800"/>
            <a:ext cx="10933200" cy="941796"/>
          </a:xfrm>
        </p:spPr>
        <p:txBody>
          <a:bodyPr/>
          <a:lstStyle/>
          <a:p>
            <a:r>
              <a:rPr lang="es-ES" dirty="0"/>
              <a:t>Siete respuestas para afrontar el COVID-19</a:t>
            </a:r>
            <a:br>
              <a:rPr lang="es-ES" dirty="0"/>
            </a:br>
            <a:r>
              <a:rPr lang="es-ES" dirty="0"/>
              <a:t>desde la perspectiva de las personas</a:t>
            </a:r>
          </a:p>
        </p:txBody>
      </p:sp>
      <p:sp>
        <p:nvSpPr>
          <p:cNvPr id="15" name="TextBox 14"/>
          <p:cNvSpPr txBox="1"/>
          <p:nvPr/>
        </p:nvSpPr>
        <p:spPr>
          <a:xfrm>
            <a:off x="6699901" y="3541540"/>
            <a:ext cx="3610600"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rPr>
              <a:t>Mitigar el riesgo de las personas</a:t>
            </a:r>
          </a:p>
        </p:txBody>
      </p:sp>
      <p:sp>
        <p:nvSpPr>
          <p:cNvPr id="18" name="TextBox 17"/>
          <p:cNvSpPr txBox="1"/>
          <p:nvPr/>
        </p:nvSpPr>
        <p:spPr>
          <a:xfrm>
            <a:off x="6699901" y="4172973"/>
            <a:ext cx="3560878"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rPr>
              <a:t>Gestionar la flexibilidad</a:t>
            </a:r>
            <a:br>
              <a:rPr lang="es-ES" sz="1700" dirty="0">
                <a:solidFill>
                  <a:srgbClr val="575757"/>
                </a:solidFill>
              </a:rPr>
            </a:br>
            <a:r>
              <a:rPr lang="es-ES" sz="1700" dirty="0">
                <a:solidFill>
                  <a:srgbClr val="575757"/>
                </a:solidFill>
              </a:rPr>
              <a:t>de la plantilla</a:t>
            </a:r>
          </a:p>
        </p:txBody>
      </p:sp>
      <p:sp>
        <p:nvSpPr>
          <p:cNvPr id="22" name="TextBox 21"/>
          <p:cNvSpPr txBox="1"/>
          <p:nvPr/>
        </p:nvSpPr>
        <p:spPr>
          <a:xfrm>
            <a:off x="6710461" y="5991446"/>
            <a:ext cx="3389639"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rPr>
              <a:t>Permanecer unidos</a:t>
            </a:r>
          </a:p>
        </p:txBody>
      </p:sp>
      <p:sp>
        <p:nvSpPr>
          <p:cNvPr id="24" name="TextBox 23"/>
          <p:cNvSpPr txBox="1"/>
          <p:nvPr/>
        </p:nvSpPr>
        <p:spPr>
          <a:xfrm>
            <a:off x="6710461" y="5384479"/>
            <a:ext cx="3676216"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rPr>
              <a:t>Comunicarse con claridad y empatía</a:t>
            </a:r>
          </a:p>
        </p:txBody>
      </p:sp>
      <p:sp>
        <p:nvSpPr>
          <p:cNvPr id="29" name="TextBox 28"/>
          <p:cNvSpPr txBox="1"/>
          <p:nvPr/>
        </p:nvSpPr>
        <p:spPr>
          <a:xfrm>
            <a:off x="6710460" y="2438600"/>
            <a:ext cx="3991286"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latin typeface="Trebuchet MS" panose="020B0603020202020204" pitchFamily="34" charset="0"/>
              </a:rPr>
              <a:t>Intensificar la salud e higiene</a:t>
            </a:r>
            <a:br>
              <a:rPr lang="es-ES" sz="1700" dirty="0">
                <a:solidFill>
                  <a:srgbClr val="575757"/>
                </a:solidFill>
                <a:latin typeface="Trebuchet MS" panose="020B0603020202020204" pitchFamily="34" charset="0"/>
              </a:rPr>
            </a:br>
            <a:r>
              <a:rPr lang="es-ES" sz="1700" dirty="0">
                <a:solidFill>
                  <a:srgbClr val="575757"/>
                </a:solidFill>
                <a:latin typeface="Trebuchet MS" panose="020B0603020202020204" pitchFamily="34" charset="0"/>
              </a:rPr>
              <a:t>en el trabajo</a:t>
            </a:r>
          </a:p>
        </p:txBody>
      </p:sp>
      <p:sp>
        <p:nvSpPr>
          <p:cNvPr id="26" name="TextBox 25"/>
          <p:cNvSpPr txBox="1"/>
          <p:nvPr/>
        </p:nvSpPr>
        <p:spPr>
          <a:xfrm>
            <a:off x="6710460" y="1980834"/>
            <a:ext cx="3907840" cy="261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700" dirty="0">
                <a:solidFill>
                  <a:srgbClr val="575757"/>
                </a:solidFill>
              </a:rPr>
              <a:t>Potenciar el </a:t>
            </a:r>
            <a:r>
              <a:rPr lang="es-ES" sz="1700" i="1" dirty="0">
                <a:solidFill>
                  <a:srgbClr val="575757"/>
                </a:solidFill>
              </a:rPr>
              <a:t>"Smart </a:t>
            </a:r>
            <a:r>
              <a:rPr lang="es-ES" sz="1700" i="1" dirty="0" err="1">
                <a:solidFill>
                  <a:srgbClr val="575757"/>
                </a:solidFill>
              </a:rPr>
              <a:t>work</a:t>
            </a:r>
            <a:r>
              <a:rPr lang="es-ES" sz="1700" i="1" dirty="0">
                <a:solidFill>
                  <a:srgbClr val="575757"/>
                </a:solidFill>
              </a:rPr>
              <a:t>"</a:t>
            </a:r>
          </a:p>
        </p:txBody>
      </p:sp>
      <p:cxnSp>
        <p:nvCxnSpPr>
          <p:cNvPr id="50" name="Straight Connector 49"/>
          <p:cNvCxnSpPr/>
          <p:nvPr/>
        </p:nvCxnSpPr>
        <p:spPr>
          <a:xfrm>
            <a:off x="11141625" y="1821586"/>
            <a:ext cx="0" cy="4541506"/>
          </a:xfrm>
          <a:prstGeom prst="line">
            <a:avLst/>
          </a:prstGeom>
          <a:ln w="19050" cap="rnd" cmpd="sng" algn="ctr">
            <a:solidFill>
              <a:srgbClr val="6E6F73"/>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Oval 20"/>
          <p:cNvSpPr>
            <a:spLocks noChangeAspect="1" noChangeArrowheads="1"/>
          </p:cNvSpPr>
          <p:nvPr/>
        </p:nvSpPr>
        <p:spPr bwMode="auto">
          <a:xfrm>
            <a:off x="10310501" y="3945564"/>
            <a:ext cx="274706" cy="274706"/>
          </a:xfrm>
          <a:prstGeom prst="ellipse">
            <a:avLst/>
          </a:prstGeom>
          <a:solidFill>
            <a:srgbClr val="197A56"/>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7</a:t>
            </a:r>
          </a:p>
        </p:txBody>
      </p:sp>
      <p:sp>
        <p:nvSpPr>
          <p:cNvPr id="51" name="TextBox 50"/>
          <p:cNvSpPr txBox="1"/>
          <p:nvPr/>
        </p:nvSpPr>
        <p:spPr>
          <a:xfrm>
            <a:off x="10701746" y="3846118"/>
            <a:ext cx="1242444" cy="492443"/>
          </a:xfrm>
          <a:prstGeom prst="rect">
            <a:avLst/>
          </a:prstGeom>
          <a:solidFill>
            <a:schemeClr val="bg1">
              <a:lumMod val="95000"/>
            </a:schemeClr>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600" dirty="0">
                <a:solidFill>
                  <a:srgbClr val="575757"/>
                </a:solidFill>
              </a:rPr>
              <a:t>Acelerar la digitalización</a:t>
            </a:r>
          </a:p>
        </p:txBody>
      </p:sp>
      <p:pic>
        <p:nvPicPr>
          <p:cNvPr id="76" name="Picture 10" descr="Bildergebnis für covid19"/>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14226" y="2036321"/>
            <a:ext cx="3966454" cy="3966455"/>
          </a:xfrm>
          <a:prstGeom prst="ellipse">
            <a:avLst/>
          </a:prstGeom>
          <a:grpFill/>
          <a:ln w="38100">
            <a:noFill/>
          </a:ln>
          <a:extLst>
            <a:ext uri="{91240B29-F687-4F45-9708-019B960494DF}">
              <a14:hiddenLine xmlns:a14="http://schemas.microsoft.com/office/drawing/2010/main" w="38100">
                <a:gradFill flip="none" rotWithShape="1">
                  <a:gsLst>
                    <a:gs pos="0">
                      <a:schemeClr val="accent2"/>
                    </a:gs>
                    <a:gs pos="100000">
                      <a:schemeClr val="tx2"/>
                    </a:gs>
                  </a:gsLst>
                  <a:lin ang="2700000" scaled="1"/>
                  <a:tileRect/>
                </a:gradFill>
              </a14:hiddenLine>
            </a:ext>
          </a:extLst>
        </p:spPr>
      </p:pic>
      <p:sp>
        <p:nvSpPr>
          <p:cNvPr id="79" name="Oval 78"/>
          <p:cNvSpPr>
            <a:spLocks noChangeAspect="1"/>
          </p:cNvSpPr>
          <p:nvPr/>
        </p:nvSpPr>
        <p:spPr>
          <a:xfrm>
            <a:off x="490518" y="2027824"/>
            <a:ext cx="3991976" cy="3991976"/>
          </a:xfrm>
          <a:prstGeom prst="ellipse">
            <a:avLst/>
          </a:prstGeom>
          <a:solidFill>
            <a:schemeClr val="bg2">
              <a:lumMod val="10000"/>
              <a:alpha val="31000"/>
            </a:schemeClr>
          </a:solidFill>
          <a:ln w="76200">
            <a:gradFill flip="none" rotWithShape="1">
              <a:gsLst>
                <a:gs pos="0">
                  <a:schemeClr val="accent1"/>
                </a:gs>
                <a:gs pos="100000">
                  <a:schemeClr val="accent4"/>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sp>
        <p:nvSpPr>
          <p:cNvPr id="80" name="TextBox 79"/>
          <p:cNvSpPr txBox="1"/>
          <p:nvPr/>
        </p:nvSpPr>
        <p:spPr>
          <a:xfrm>
            <a:off x="5273003" y="5920940"/>
            <a:ext cx="843180" cy="307777"/>
          </a:xfrm>
          <a:prstGeom prst="rect">
            <a:avLst/>
          </a:prstGeom>
          <a:solidFill>
            <a:srgbClr val="F2F2F2"/>
          </a:solidFill>
        </p:spPr>
        <p:txBody>
          <a:bodyPr wrap="none" lIns="0" tIns="0" rIns="0" bIns="0" rtlCol="0" anchor="ctr" anchorCtr="0">
            <a:spAutoFit/>
          </a:bodyPr>
          <a:lstStyle/>
          <a:p>
            <a:pPr algn="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Cultura</a:t>
            </a:r>
          </a:p>
        </p:txBody>
      </p:sp>
      <p:cxnSp>
        <p:nvCxnSpPr>
          <p:cNvPr id="84" name="Straight Connector 83"/>
          <p:cNvCxnSpPr/>
          <p:nvPr/>
        </p:nvCxnSpPr>
        <p:spPr>
          <a:xfrm>
            <a:off x="3397468" y="5844646"/>
            <a:ext cx="2718715" cy="0"/>
          </a:xfrm>
          <a:prstGeom prst="line">
            <a:avLst/>
          </a:prstGeom>
          <a:ln w="19050" cap="rnd" cmpd="sng" algn="ctr">
            <a:solidFill>
              <a:srgbClr val="6E6F73"/>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8" name="AutoShape 18">
            <a:extLst>
              <a:ext uri="{FF2B5EF4-FFF2-40B4-BE49-F238E27FC236}">
                <a16:creationId xmlns="" xmlns:a16="http://schemas.microsoft.com/office/drawing/2014/main" id="{100AC5BD-F30F-4F9C-94F8-3ECEAAF56365}"/>
              </a:ext>
            </a:extLst>
          </p:cNvPr>
          <p:cNvSpPr>
            <a:spLocks noChangeAspect="1" noChangeArrowheads="1" noTextEdit="1"/>
          </p:cNvSpPr>
          <p:nvPr/>
        </p:nvSpPr>
        <p:spPr bwMode="auto">
          <a:xfrm>
            <a:off x="5373921" y="5134610"/>
            <a:ext cx="742262"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89" name="Group 88"/>
          <p:cNvGrpSpPr/>
          <p:nvPr/>
        </p:nvGrpSpPr>
        <p:grpSpPr>
          <a:xfrm>
            <a:off x="5425859" y="5291283"/>
            <a:ext cx="636151" cy="436655"/>
            <a:chOff x="5388863" y="2953131"/>
            <a:chExt cx="1409319" cy="967359"/>
          </a:xfrm>
        </p:grpSpPr>
        <p:sp>
          <p:nvSpPr>
            <p:cNvPr id="90" name="Freeform 20">
              <a:extLst>
                <a:ext uri="{FF2B5EF4-FFF2-40B4-BE49-F238E27FC236}">
                  <a16:creationId xmlns=""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91" name="Freeform 21">
              <a:extLst>
                <a:ext uri="{FF2B5EF4-FFF2-40B4-BE49-F238E27FC236}">
                  <a16:creationId xmlns=""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81" name="Oval 80"/>
          <p:cNvSpPr>
            <a:spLocks noChangeAspect="1"/>
          </p:cNvSpPr>
          <p:nvPr/>
        </p:nvSpPr>
        <p:spPr>
          <a:xfrm>
            <a:off x="1099294" y="2636600"/>
            <a:ext cx="2774423" cy="2774423"/>
          </a:xfrm>
          <a:prstGeom prst="ellipse">
            <a:avLst/>
          </a:prstGeom>
          <a:grpFill/>
          <a:ln w="76200">
            <a:gradFill flip="none" rotWithShape="1">
              <a:gsLst>
                <a:gs pos="0">
                  <a:schemeClr val="accent2"/>
                </a:gs>
                <a:gs pos="100000">
                  <a:schemeClr val="tx2"/>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sp>
        <p:nvSpPr>
          <p:cNvPr id="85" name="TextBox 84"/>
          <p:cNvSpPr txBox="1"/>
          <p:nvPr/>
        </p:nvSpPr>
        <p:spPr>
          <a:xfrm>
            <a:off x="5163999" y="4146642"/>
            <a:ext cx="952184" cy="307777"/>
          </a:xfrm>
          <a:prstGeom prst="rect">
            <a:avLst/>
          </a:prstGeom>
          <a:solidFill>
            <a:srgbClr val="F2F2F2"/>
          </a:solidFill>
        </p:spPr>
        <p:txBody>
          <a:bodyPr wrap="none" lIns="0" tIns="0" rIns="0" bIns="0" rtlCol="0" anchor="ctr" anchorCtr="0">
            <a:spAutoFit/>
          </a:bodyPr>
          <a:lstStyle/>
          <a:p>
            <a:pPr algn="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Plantilla</a:t>
            </a:r>
          </a:p>
        </p:txBody>
      </p:sp>
      <p:cxnSp>
        <p:nvCxnSpPr>
          <p:cNvPr id="86" name="Straight Connector 85"/>
          <p:cNvCxnSpPr/>
          <p:nvPr/>
        </p:nvCxnSpPr>
        <p:spPr>
          <a:xfrm>
            <a:off x="3899118" y="4069751"/>
            <a:ext cx="2217065" cy="0"/>
          </a:xfrm>
          <a:prstGeom prst="line">
            <a:avLst/>
          </a:prstGeom>
          <a:ln w="19050" cap="rnd" cmpd="sng" algn="ctr">
            <a:solidFill>
              <a:srgbClr val="6E6F73"/>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92" name="Group 91"/>
          <p:cNvGrpSpPr>
            <a:grpSpLocks noChangeAspect="1"/>
          </p:cNvGrpSpPr>
          <p:nvPr/>
        </p:nvGrpSpPr>
        <p:grpSpPr>
          <a:xfrm>
            <a:off x="5373921" y="3276600"/>
            <a:ext cx="742262" cy="742950"/>
            <a:chOff x="5273803" y="2606040"/>
            <a:chExt cx="1644396" cy="1645920"/>
          </a:xfrm>
        </p:grpSpPr>
        <p:sp>
          <p:nvSpPr>
            <p:cNvPr id="93" name="AutoShape 13">
              <a:extLst>
                <a:ext uri="{FF2B5EF4-FFF2-40B4-BE49-F238E27FC236}">
                  <a16:creationId xmlns="" xmlns:a16="http://schemas.microsoft.com/office/drawing/2014/main" id="{29016D3E-1273-434F-90D5-5078F0FBBC01}"/>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94" name="Group 93"/>
            <p:cNvGrpSpPr/>
            <p:nvPr/>
          </p:nvGrpSpPr>
          <p:grpSpPr>
            <a:xfrm>
              <a:off x="5478781" y="2773299"/>
              <a:ext cx="1233297" cy="1272159"/>
              <a:chOff x="5478781" y="2773299"/>
              <a:chExt cx="1233297" cy="1272159"/>
            </a:xfrm>
          </p:grpSpPr>
          <p:sp>
            <p:nvSpPr>
              <p:cNvPr id="95" name="Freeform 94">
                <a:extLst>
                  <a:ext uri="{FF2B5EF4-FFF2-40B4-BE49-F238E27FC236}">
                    <a16:creationId xmlns="" xmlns:a16="http://schemas.microsoft.com/office/drawing/2014/main" id="{AE388F92-54E0-4BC0-9CBC-2CF2AB0B27C8}"/>
                  </a:ext>
                </a:extLst>
              </p:cNvPr>
              <p:cNvSpPr>
                <a:spLocks noEditPoints="1"/>
              </p:cNvSpPr>
              <p:nvPr/>
            </p:nvSpPr>
            <p:spPr bwMode="auto">
              <a:xfrm>
                <a:off x="5541265" y="2773299"/>
                <a:ext cx="1107948" cy="1209294"/>
              </a:xfrm>
              <a:custGeom>
                <a:avLst/>
                <a:gdLst>
                  <a:gd name="T0" fmla="*/ 1072 w 1552"/>
                  <a:gd name="T1" fmla="*/ 421 h 1693"/>
                  <a:gd name="T2" fmla="*/ 1072 w 1552"/>
                  <a:gd name="T3" fmla="*/ 420 h 1693"/>
                  <a:gd name="T4" fmla="*/ 1037 w 1552"/>
                  <a:gd name="T5" fmla="*/ 469 h 1693"/>
                  <a:gd name="T6" fmla="*/ 1014 w 1552"/>
                  <a:gd name="T7" fmla="*/ 469 h 1693"/>
                  <a:gd name="T8" fmla="*/ 1011 w 1552"/>
                  <a:gd name="T9" fmla="*/ 238 h 1693"/>
                  <a:gd name="T10" fmla="*/ 608 w 1552"/>
                  <a:gd name="T11" fmla="*/ 252 h 1693"/>
                  <a:gd name="T12" fmla="*/ 532 w 1552"/>
                  <a:gd name="T13" fmla="*/ 465 h 1693"/>
                  <a:gd name="T14" fmla="*/ 512 w 1552"/>
                  <a:gd name="T15" fmla="*/ 463 h 1693"/>
                  <a:gd name="T16" fmla="*/ 481 w 1552"/>
                  <a:gd name="T17" fmla="*/ 424 h 1693"/>
                  <a:gd name="T18" fmla="*/ 481 w 1552"/>
                  <a:gd name="T19" fmla="*/ 424 h 1693"/>
                  <a:gd name="T20" fmla="*/ 469 w 1552"/>
                  <a:gd name="T21" fmla="*/ 314 h 1693"/>
                  <a:gd name="T22" fmla="*/ 776 w 1552"/>
                  <a:gd name="T23" fmla="*/ 0 h 1693"/>
                  <a:gd name="T24" fmla="*/ 1083 w 1552"/>
                  <a:gd name="T25" fmla="*/ 314 h 1693"/>
                  <a:gd name="T26" fmla="*/ 1072 w 1552"/>
                  <a:gd name="T27" fmla="*/ 421 h 1693"/>
                  <a:gd name="T28" fmla="*/ 848 w 1552"/>
                  <a:gd name="T29" fmla="*/ 1124 h 1693"/>
                  <a:gd name="T30" fmla="*/ 803 w 1552"/>
                  <a:gd name="T31" fmla="*/ 992 h 1693"/>
                  <a:gd name="T32" fmla="*/ 803 w 1552"/>
                  <a:gd name="T33" fmla="*/ 987 h 1693"/>
                  <a:gd name="T34" fmla="*/ 845 w 1552"/>
                  <a:gd name="T35" fmla="*/ 921 h 1693"/>
                  <a:gd name="T36" fmla="*/ 841 w 1552"/>
                  <a:gd name="T37" fmla="*/ 912 h 1693"/>
                  <a:gd name="T38" fmla="*/ 778 w 1552"/>
                  <a:gd name="T39" fmla="*/ 903 h 1693"/>
                  <a:gd name="T40" fmla="*/ 712 w 1552"/>
                  <a:gd name="T41" fmla="*/ 912 h 1693"/>
                  <a:gd name="T42" fmla="*/ 708 w 1552"/>
                  <a:gd name="T43" fmla="*/ 922 h 1693"/>
                  <a:gd name="T44" fmla="*/ 749 w 1552"/>
                  <a:gd name="T45" fmla="*/ 987 h 1693"/>
                  <a:gd name="T46" fmla="*/ 750 w 1552"/>
                  <a:gd name="T47" fmla="*/ 992 h 1693"/>
                  <a:gd name="T48" fmla="*/ 701 w 1552"/>
                  <a:gd name="T49" fmla="*/ 1124 h 1693"/>
                  <a:gd name="T50" fmla="*/ 707 w 1552"/>
                  <a:gd name="T51" fmla="*/ 1132 h 1693"/>
                  <a:gd name="T52" fmla="*/ 841 w 1552"/>
                  <a:gd name="T53" fmla="*/ 1132 h 1693"/>
                  <a:gd name="T54" fmla="*/ 848 w 1552"/>
                  <a:gd name="T55" fmla="*/ 1124 h 1693"/>
                  <a:gd name="T56" fmla="*/ 636 w 1552"/>
                  <a:gd name="T57" fmla="*/ 1693 h 1693"/>
                  <a:gd name="T58" fmla="*/ 911 w 1552"/>
                  <a:gd name="T59" fmla="*/ 1693 h 1693"/>
                  <a:gd name="T60" fmla="*/ 921 w 1552"/>
                  <a:gd name="T61" fmla="*/ 1683 h 1693"/>
                  <a:gd name="T62" fmla="*/ 921 w 1552"/>
                  <a:gd name="T63" fmla="*/ 1580 h 1693"/>
                  <a:gd name="T64" fmla="*/ 911 w 1552"/>
                  <a:gd name="T65" fmla="*/ 1570 h 1693"/>
                  <a:gd name="T66" fmla="*/ 636 w 1552"/>
                  <a:gd name="T67" fmla="*/ 1570 h 1693"/>
                  <a:gd name="T68" fmla="*/ 626 w 1552"/>
                  <a:gd name="T69" fmla="*/ 1580 h 1693"/>
                  <a:gd name="T70" fmla="*/ 626 w 1552"/>
                  <a:gd name="T71" fmla="*/ 1683 h 1693"/>
                  <a:gd name="T72" fmla="*/ 636 w 1552"/>
                  <a:gd name="T73" fmla="*/ 1693 h 1693"/>
                  <a:gd name="T74" fmla="*/ 1267 w 1552"/>
                  <a:gd name="T75" fmla="*/ 1693 h 1693"/>
                  <a:gd name="T76" fmla="*/ 1542 w 1552"/>
                  <a:gd name="T77" fmla="*/ 1693 h 1693"/>
                  <a:gd name="T78" fmla="*/ 1552 w 1552"/>
                  <a:gd name="T79" fmla="*/ 1683 h 1693"/>
                  <a:gd name="T80" fmla="*/ 1552 w 1552"/>
                  <a:gd name="T81" fmla="*/ 1580 h 1693"/>
                  <a:gd name="T82" fmla="*/ 1542 w 1552"/>
                  <a:gd name="T83" fmla="*/ 1570 h 1693"/>
                  <a:gd name="T84" fmla="*/ 1267 w 1552"/>
                  <a:gd name="T85" fmla="*/ 1570 h 1693"/>
                  <a:gd name="T86" fmla="*/ 1257 w 1552"/>
                  <a:gd name="T87" fmla="*/ 1580 h 1693"/>
                  <a:gd name="T88" fmla="*/ 1257 w 1552"/>
                  <a:gd name="T89" fmla="*/ 1683 h 1693"/>
                  <a:gd name="T90" fmla="*/ 1267 w 1552"/>
                  <a:gd name="T91" fmla="*/ 1693 h 1693"/>
                  <a:gd name="T92" fmla="*/ 10 w 1552"/>
                  <a:gd name="T93" fmla="*/ 1693 h 1693"/>
                  <a:gd name="T94" fmla="*/ 285 w 1552"/>
                  <a:gd name="T95" fmla="*/ 1693 h 1693"/>
                  <a:gd name="T96" fmla="*/ 295 w 1552"/>
                  <a:gd name="T97" fmla="*/ 1683 h 1693"/>
                  <a:gd name="T98" fmla="*/ 295 w 1552"/>
                  <a:gd name="T99" fmla="*/ 1580 h 1693"/>
                  <a:gd name="T100" fmla="*/ 285 w 1552"/>
                  <a:gd name="T101" fmla="*/ 1570 h 1693"/>
                  <a:gd name="T102" fmla="*/ 10 w 1552"/>
                  <a:gd name="T103" fmla="*/ 1570 h 1693"/>
                  <a:gd name="T104" fmla="*/ 0 w 1552"/>
                  <a:gd name="T105" fmla="*/ 1580 h 1693"/>
                  <a:gd name="T106" fmla="*/ 0 w 1552"/>
                  <a:gd name="T107" fmla="*/ 1683 h 1693"/>
                  <a:gd name="T108" fmla="*/ 10 w 1552"/>
                  <a:gd name="T109" fmla="*/ 1693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2" h="1693">
                    <a:moveTo>
                      <a:pt x="1072" y="421"/>
                    </a:moveTo>
                    <a:cubicBezTo>
                      <a:pt x="1072" y="420"/>
                      <a:pt x="1072" y="420"/>
                      <a:pt x="1072" y="420"/>
                    </a:cubicBezTo>
                    <a:cubicBezTo>
                      <a:pt x="1071" y="420"/>
                      <a:pt x="1066" y="436"/>
                      <a:pt x="1037" y="469"/>
                    </a:cubicBezTo>
                    <a:cubicBezTo>
                      <a:pt x="1037" y="469"/>
                      <a:pt x="1037" y="469"/>
                      <a:pt x="1014" y="469"/>
                    </a:cubicBezTo>
                    <a:cubicBezTo>
                      <a:pt x="1014" y="469"/>
                      <a:pt x="1014" y="458"/>
                      <a:pt x="1011" y="238"/>
                    </a:cubicBezTo>
                    <a:cubicBezTo>
                      <a:pt x="977" y="414"/>
                      <a:pt x="608" y="252"/>
                      <a:pt x="608" y="252"/>
                    </a:cubicBezTo>
                    <a:cubicBezTo>
                      <a:pt x="516" y="280"/>
                      <a:pt x="532" y="465"/>
                      <a:pt x="532" y="465"/>
                    </a:cubicBezTo>
                    <a:cubicBezTo>
                      <a:pt x="532" y="465"/>
                      <a:pt x="532" y="465"/>
                      <a:pt x="512" y="463"/>
                    </a:cubicBezTo>
                    <a:cubicBezTo>
                      <a:pt x="512" y="463"/>
                      <a:pt x="512" y="452"/>
                      <a:pt x="481" y="424"/>
                    </a:cubicBezTo>
                    <a:cubicBezTo>
                      <a:pt x="481" y="424"/>
                      <a:pt x="481" y="424"/>
                      <a:pt x="481" y="424"/>
                    </a:cubicBezTo>
                    <a:cubicBezTo>
                      <a:pt x="469" y="390"/>
                      <a:pt x="469" y="353"/>
                      <a:pt x="469" y="314"/>
                    </a:cubicBezTo>
                    <a:cubicBezTo>
                      <a:pt x="469" y="140"/>
                      <a:pt x="602" y="0"/>
                      <a:pt x="776" y="0"/>
                    </a:cubicBezTo>
                    <a:cubicBezTo>
                      <a:pt x="950" y="0"/>
                      <a:pt x="1083" y="140"/>
                      <a:pt x="1083" y="314"/>
                    </a:cubicBezTo>
                    <a:cubicBezTo>
                      <a:pt x="1083" y="351"/>
                      <a:pt x="1084" y="387"/>
                      <a:pt x="1072" y="421"/>
                    </a:cubicBezTo>
                    <a:close/>
                    <a:moveTo>
                      <a:pt x="848" y="1124"/>
                    </a:moveTo>
                    <a:cubicBezTo>
                      <a:pt x="803" y="992"/>
                      <a:pt x="803" y="992"/>
                      <a:pt x="803" y="992"/>
                    </a:cubicBezTo>
                    <a:cubicBezTo>
                      <a:pt x="802" y="990"/>
                      <a:pt x="802" y="988"/>
                      <a:pt x="803" y="987"/>
                    </a:cubicBezTo>
                    <a:cubicBezTo>
                      <a:pt x="845" y="921"/>
                      <a:pt x="845" y="921"/>
                      <a:pt x="845" y="921"/>
                    </a:cubicBezTo>
                    <a:cubicBezTo>
                      <a:pt x="847" y="918"/>
                      <a:pt x="845" y="913"/>
                      <a:pt x="841" y="912"/>
                    </a:cubicBezTo>
                    <a:cubicBezTo>
                      <a:pt x="827" y="909"/>
                      <a:pt x="800" y="903"/>
                      <a:pt x="778" y="903"/>
                    </a:cubicBezTo>
                    <a:cubicBezTo>
                      <a:pt x="756" y="903"/>
                      <a:pt x="726" y="909"/>
                      <a:pt x="712" y="912"/>
                    </a:cubicBezTo>
                    <a:cubicBezTo>
                      <a:pt x="707" y="913"/>
                      <a:pt x="705" y="918"/>
                      <a:pt x="708" y="922"/>
                    </a:cubicBezTo>
                    <a:cubicBezTo>
                      <a:pt x="749" y="987"/>
                      <a:pt x="749" y="987"/>
                      <a:pt x="749" y="987"/>
                    </a:cubicBezTo>
                    <a:cubicBezTo>
                      <a:pt x="750" y="989"/>
                      <a:pt x="750" y="991"/>
                      <a:pt x="750" y="992"/>
                    </a:cubicBezTo>
                    <a:cubicBezTo>
                      <a:pt x="701" y="1124"/>
                      <a:pt x="701" y="1124"/>
                      <a:pt x="701" y="1124"/>
                    </a:cubicBezTo>
                    <a:cubicBezTo>
                      <a:pt x="700" y="1128"/>
                      <a:pt x="703" y="1132"/>
                      <a:pt x="707" y="1132"/>
                    </a:cubicBezTo>
                    <a:cubicBezTo>
                      <a:pt x="841" y="1132"/>
                      <a:pt x="841" y="1132"/>
                      <a:pt x="841" y="1132"/>
                    </a:cubicBezTo>
                    <a:cubicBezTo>
                      <a:pt x="846" y="1132"/>
                      <a:pt x="849" y="1128"/>
                      <a:pt x="848" y="1124"/>
                    </a:cubicBezTo>
                    <a:close/>
                    <a:moveTo>
                      <a:pt x="636" y="1693"/>
                    </a:moveTo>
                    <a:cubicBezTo>
                      <a:pt x="911" y="1693"/>
                      <a:pt x="911" y="1693"/>
                      <a:pt x="911" y="1693"/>
                    </a:cubicBezTo>
                    <a:cubicBezTo>
                      <a:pt x="917" y="1693"/>
                      <a:pt x="921" y="1689"/>
                      <a:pt x="921" y="1683"/>
                    </a:cubicBezTo>
                    <a:cubicBezTo>
                      <a:pt x="921" y="1580"/>
                      <a:pt x="921" y="1580"/>
                      <a:pt x="921" y="1580"/>
                    </a:cubicBezTo>
                    <a:cubicBezTo>
                      <a:pt x="921" y="1575"/>
                      <a:pt x="917" y="1570"/>
                      <a:pt x="911" y="1570"/>
                    </a:cubicBezTo>
                    <a:cubicBezTo>
                      <a:pt x="636" y="1570"/>
                      <a:pt x="636" y="1570"/>
                      <a:pt x="636" y="1570"/>
                    </a:cubicBezTo>
                    <a:cubicBezTo>
                      <a:pt x="630" y="1570"/>
                      <a:pt x="626" y="1575"/>
                      <a:pt x="626" y="1580"/>
                    </a:cubicBezTo>
                    <a:cubicBezTo>
                      <a:pt x="626" y="1683"/>
                      <a:pt x="626" y="1683"/>
                      <a:pt x="626" y="1683"/>
                    </a:cubicBezTo>
                    <a:cubicBezTo>
                      <a:pt x="626" y="1689"/>
                      <a:pt x="630" y="1693"/>
                      <a:pt x="636" y="1693"/>
                    </a:cubicBezTo>
                    <a:close/>
                    <a:moveTo>
                      <a:pt x="1267" y="1693"/>
                    </a:moveTo>
                    <a:cubicBezTo>
                      <a:pt x="1542" y="1693"/>
                      <a:pt x="1542" y="1693"/>
                      <a:pt x="1542" y="1693"/>
                    </a:cubicBezTo>
                    <a:cubicBezTo>
                      <a:pt x="1548" y="1693"/>
                      <a:pt x="1552" y="1689"/>
                      <a:pt x="1552" y="1683"/>
                    </a:cubicBezTo>
                    <a:cubicBezTo>
                      <a:pt x="1552" y="1580"/>
                      <a:pt x="1552" y="1580"/>
                      <a:pt x="1552" y="1580"/>
                    </a:cubicBezTo>
                    <a:cubicBezTo>
                      <a:pt x="1552" y="1575"/>
                      <a:pt x="1548" y="1570"/>
                      <a:pt x="1542" y="1570"/>
                    </a:cubicBezTo>
                    <a:cubicBezTo>
                      <a:pt x="1267" y="1570"/>
                      <a:pt x="1267" y="1570"/>
                      <a:pt x="1267" y="1570"/>
                    </a:cubicBezTo>
                    <a:cubicBezTo>
                      <a:pt x="1261" y="1570"/>
                      <a:pt x="1257" y="1575"/>
                      <a:pt x="1257" y="1580"/>
                    </a:cubicBezTo>
                    <a:cubicBezTo>
                      <a:pt x="1257" y="1683"/>
                      <a:pt x="1257" y="1683"/>
                      <a:pt x="1257" y="1683"/>
                    </a:cubicBezTo>
                    <a:cubicBezTo>
                      <a:pt x="1257" y="1689"/>
                      <a:pt x="1261" y="1693"/>
                      <a:pt x="1267" y="1693"/>
                    </a:cubicBezTo>
                    <a:close/>
                    <a:moveTo>
                      <a:pt x="10" y="1693"/>
                    </a:moveTo>
                    <a:cubicBezTo>
                      <a:pt x="285" y="1693"/>
                      <a:pt x="285" y="1693"/>
                      <a:pt x="285" y="1693"/>
                    </a:cubicBezTo>
                    <a:cubicBezTo>
                      <a:pt x="291" y="1693"/>
                      <a:pt x="295" y="1689"/>
                      <a:pt x="295" y="1683"/>
                    </a:cubicBezTo>
                    <a:cubicBezTo>
                      <a:pt x="295" y="1580"/>
                      <a:pt x="295" y="1580"/>
                      <a:pt x="295" y="1580"/>
                    </a:cubicBezTo>
                    <a:cubicBezTo>
                      <a:pt x="295" y="1575"/>
                      <a:pt x="291" y="1570"/>
                      <a:pt x="285" y="1570"/>
                    </a:cubicBezTo>
                    <a:cubicBezTo>
                      <a:pt x="10" y="1570"/>
                      <a:pt x="10" y="1570"/>
                      <a:pt x="10" y="1570"/>
                    </a:cubicBezTo>
                    <a:cubicBezTo>
                      <a:pt x="4" y="1570"/>
                      <a:pt x="0" y="1575"/>
                      <a:pt x="0" y="1580"/>
                    </a:cubicBezTo>
                    <a:cubicBezTo>
                      <a:pt x="0" y="1683"/>
                      <a:pt x="0" y="1683"/>
                      <a:pt x="0" y="1683"/>
                    </a:cubicBezTo>
                    <a:cubicBezTo>
                      <a:pt x="0" y="1689"/>
                      <a:pt x="4" y="1693"/>
                      <a:pt x="10" y="16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96" name="Freeform 95">
                <a:extLst>
                  <a:ext uri="{FF2B5EF4-FFF2-40B4-BE49-F238E27FC236}">
                    <a16:creationId xmlns="" xmlns:a16="http://schemas.microsoft.com/office/drawing/2014/main" id="{A5761825-B54E-4FE3-84C3-C3D05FA5B40E}"/>
                  </a:ext>
                </a:extLst>
              </p:cNvPr>
              <p:cNvSpPr>
                <a:spLocks noEditPoints="1"/>
              </p:cNvSpPr>
              <p:nvPr/>
            </p:nvSpPr>
            <p:spPr bwMode="auto">
              <a:xfrm>
                <a:off x="5478781" y="3106674"/>
                <a:ext cx="1233297" cy="938784"/>
              </a:xfrm>
              <a:custGeom>
                <a:avLst/>
                <a:gdLst>
                  <a:gd name="T0" fmla="*/ 280 w 1728"/>
                  <a:gd name="T1" fmla="*/ 646 h 1314"/>
                  <a:gd name="T2" fmla="*/ 669 w 1728"/>
                  <a:gd name="T3" fmla="*/ 397 h 1314"/>
                  <a:gd name="T4" fmla="*/ 734 w 1728"/>
                  <a:gd name="T5" fmla="*/ 657 h 1314"/>
                  <a:gd name="T6" fmla="*/ 294 w 1728"/>
                  <a:gd name="T7" fmla="*/ 665 h 1314"/>
                  <a:gd name="T8" fmla="*/ 1448 w 1728"/>
                  <a:gd name="T9" fmla="*/ 646 h 1314"/>
                  <a:gd name="T10" fmla="*/ 1059 w 1728"/>
                  <a:gd name="T11" fmla="*/ 397 h 1314"/>
                  <a:gd name="T12" fmla="*/ 994 w 1728"/>
                  <a:gd name="T13" fmla="*/ 657 h 1314"/>
                  <a:gd name="T14" fmla="*/ 1434 w 1728"/>
                  <a:gd name="T15" fmla="*/ 665 h 1314"/>
                  <a:gd name="T16" fmla="*/ 693 w 1728"/>
                  <a:gd name="T17" fmla="*/ 282 h 1314"/>
                  <a:gd name="T18" fmla="*/ 703 w 1728"/>
                  <a:gd name="T19" fmla="*/ 361 h 1314"/>
                  <a:gd name="T20" fmla="*/ 747 w 1728"/>
                  <a:gd name="T21" fmla="*/ 406 h 1314"/>
                  <a:gd name="T22" fmla="*/ 864 w 1728"/>
                  <a:gd name="T23" fmla="*/ 365 h 1314"/>
                  <a:gd name="T24" fmla="*/ 981 w 1728"/>
                  <a:gd name="T25" fmla="*/ 406 h 1314"/>
                  <a:gd name="T26" fmla="*/ 1025 w 1728"/>
                  <a:gd name="T27" fmla="*/ 361 h 1314"/>
                  <a:gd name="T28" fmla="*/ 1035 w 1728"/>
                  <a:gd name="T29" fmla="*/ 282 h 1314"/>
                  <a:gd name="T30" fmla="*/ 1182 w 1728"/>
                  <a:gd name="T31" fmla="*/ 4 h 1314"/>
                  <a:gd name="T32" fmla="*/ 1127 w 1728"/>
                  <a:gd name="T33" fmla="*/ 27 h 1314"/>
                  <a:gd name="T34" fmla="*/ 1097 w 1728"/>
                  <a:gd name="T35" fmla="*/ 56 h 1314"/>
                  <a:gd name="T36" fmla="*/ 864 w 1728"/>
                  <a:gd name="T37" fmla="*/ 321 h 1314"/>
                  <a:gd name="T38" fmla="*/ 631 w 1728"/>
                  <a:gd name="T39" fmla="*/ 56 h 1314"/>
                  <a:gd name="T40" fmla="*/ 600 w 1728"/>
                  <a:gd name="T41" fmla="*/ 25 h 1314"/>
                  <a:gd name="T42" fmla="*/ 546 w 1728"/>
                  <a:gd name="T43" fmla="*/ 5 h 1314"/>
                  <a:gd name="T44" fmla="*/ 1728 w 1728"/>
                  <a:gd name="T45" fmla="*/ 1037 h 1314"/>
                  <a:gd name="T46" fmla="*/ 1706 w 1728"/>
                  <a:gd name="T47" fmla="*/ 1314 h 1314"/>
                  <a:gd name="T48" fmla="*/ 1257 w 1728"/>
                  <a:gd name="T49" fmla="*/ 1292 h 1314"/>
                  <a:gd name="T50" fmla="*/ 1279 w 1728"/>
                  <a:gd name="T51" fmla="*/ 1015 h 1314"/>
                  <a:gd name="T52" fmla="*/ 1471 w 1728"/>
                  <a:gd name="T53" fmla="*/ 883 h 1314"/>
                  <a:gd name="T54" fmla="*/ 884 w 1728"/>
                  <a:gd name="T55" fmla="*/ 1015 h 1314"/>
                  <a:gd name="T56" fmla="*/ 1097 w 1728"/>
                  <a:gd name="T57" fmla="*/ 1037 h 1314"/>
                  <a:gd name="T58" fmla="*/ 1075 w 1728"/>
                  <a:gd name="T59" fmla="*/ 1314 h 1314"/>
                  <a:gd name="T60" fmla="*/ 626 w 1728"/>
                  <a:gd name="T61" fmla="*/ 1292 h 1314"/>
                  <a:gd name="T62" fmla="*/ 648 w 1728"/>
                  <a:gd name="T63" fmla="*/ 1015 h 1314"/>
                  <a:gd name="T64" fmla="*/ 840 w 1728"/>
                  <a:gd name="T65" fmla="*/ 883 h 1314"/>
                  <a:gd name="T66" fmla="*/ 257 w 1728"/>
                  <a:gd name="T67" fmla="*/ 1015 h 1314"/>
                  <a:gd name="T68" fmla="*/ 471 w 1728"/>
                  <a:gd name="T69" fmla="*/ 1037 h 1314"/>
                  <a:gd name="T70" fmla="*/ 449 w 1728"/>
                  <a:gd name="T71" fmla="*/ 1314 h 1314"/>
                  <a:gd name="T72" fmla="*/ 0 w 1728"/>
                  <a:gd name="T73" fmla="*/ 1292 h 1314"/>
                  <a:gd name="T74" fmla="*/ 22 w 1728"/>
                  <a:gd name="T75" fmla="*/ 1015 h 1314"/>
                  <a:gd name="T76" fmla="*/ 213 w 1728"/>
                  <a:gd name="T77" fmla="*/ 861 h 1314"/>
                  <a:gd name="T78" fmla="*/ 840 w 1728"/>
                  <a:gd name="T79" fmla="*/ 839 h 1314"/>
                  <a:gd name="T80" fmla="*/ 884 w 1728"/>
                  <a:gd name="T81" fmla="*/ 709 h 1314"/>
                  <a:gd name="T82" fmla="*/ 1493 w 1728"/>
                  <a:gd name="T83" fmla="*/ 839 h 1314"/>
                  <a:gd name="T84" fmla="*/ 1515 w 1728"/>
                  <a:gd name="T85" fmla="*/ 1015 h 1314"/>
                  <a:gd name="T86" fmla="*/ 1728 w 1728"/>
                  <a:gd name="T87" fmla="*/ 1037 h 1314"/>
                  <a:gd name="T88" fmla="*/ 44 w 1728"/>
                  <a:gd name="T89" fmla="*/ 1270 h 1314"/>
                  <a:gd name="T90" fmla="*/ 427 w 1728"/>
                  <a:gd name="T91" fmla="*/ 1059 h 1314"/>
                  <a:gd name="T92" fmla="*/ 670 w 1728"/>
                  <a:gd name="T93" fmla="*/ 1059 h 1314"/>
                  <a:gd name="T94" fmla="*/ 1053 w 1728"/>
                  <a:gd name="T95" fmla="*/ 1270 h 1314"/>
                  <a:gd name="T96" fmla="*/ 670 w 1728"/>
                  <a:gd name="T97" fmla="*/ 1059 h 1314"/>
                  <a:gd name="T98" fmla="*/ 1301 w 1728"/>
                  <a:gd name="T99" fmla="*/ 1059 h 1314"/>
                  <a:gd name="T100" fmla="*/ 1684 w 1728"/>
                  <a:gd name="T101" fmla="*/ 1270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8" h="1314">
                    <a:moveTo>
                      <a:pt x="294" y="665"/>
                    </a:moveTo>
                    <a:cubicBezTo>
                      <a:pt x="284" y="665"/>
                      <a:pt x="277" y="655"/>
                      <a:pt x="280" y="646"/>
                    </a:cubicBezTo>
                    <a:cubicBezTo>
                      <a:pt x="298" y="598"/>
                      <a:pt x="350" y="472"/>
                      <a:pt x="422" y="440"/>
                    </a:cubicBezTo>
                    <a:cubicBezTo>
                      <a:pt x="501" y="403"/>
                      <a:pt x="640" y="398"/>
                      <a:pt x="669" y="397"/>
                    </a:cubicBezTo>
                    <a:cubicBezTo>
                      <a:pt x="672" y="397"/>
                      <a:pt x="674" y="399"/>
                      <a:pt x="675" y="402"/>
                    </a:cubicBezTo>
                    <a:cubicBezTo>
                      <a:pt x="734" y="657"/>
                      <a:pt x="734" y="657"/>
                      <a:pt x="734" y="657"/>
                    </a:cubicBezTo>
                    <a:cubicBezTo>
                      <a:pt x="735" y="661"/>
                      <a:pt x="732" y="665"/>
                      <a:pt x="728" y="665"/>
                    </a:cubicBezTo>
                    <a:lnTo>
                      <a:pt x="294" y="665"/>
                    </a:lnTo>
                    <a:close/>
                    <a:moveTo>
                      <a:pt x="1434" y="665"/>
                    </a:moveTo>
                    <a:cubicBezTo>
                      <a:pt x="1444" y="665"/>
                      <a:pt x="1451" y="655"/>
                      <a:pt x="1448" y="646"/>
                    </a:cubicBezTo>
                    <a:cubicBezTo>
                      <a:pt x="1430" y="598"/>
                      <a:pt x="1378" y="472"/>
                      <a:pt x="1306" y="440"/>
                    </a:cubicBezTo>
                    <a:cubicBezTo>
                      <a:pt x="1227" y="403"/>
                      <a:pt x="1088" y="398"/>
                      <a:pt x="1059" y="397"/>
                    </a:cubicBezTo>
                    <a:cubicBezTo>
                      <a:pt x="1056" y="397"/>
                      <a:pt x="1054" y="399"/>
                      <a:pt x="1053" y="402"/>
                    </a:cubicBezTo>
                    <a:cubicBezTo>
                      <a:pt x="994" y="657"/>
                      <a:pt x="994" y="657"/>
                      <a:pt x="994" y="657"/>
                    </a:cubicBezTo>
                    <a:cubicBezTo>
                      <a:pt x="993" y="661"/>
                      <a:pt x="996" y="665"/>
                      <a:pt x="1000" y="665"/>
                    </a:cubicBezTo>
                    <a:lnTo>
                      <a:pt x="1434" y="665"/>
                    </a:lnTo>
                    <a:close/>
                    <a:moveTo>
                      <a:pt x="593" y="79"/>
                    </a:moveTo>
                    <a:cubicBezTo>
                      <a:pt x="612" y="129"/>
                      <a:pt x="665" y="257"/>
                      <a:pt x="693" y="282"/>
                    </a:cubicBezTo>
                    <a:cubicBezTo>
                      <a:pt x="696" y="284"/>
                      <a:pt x="699" y="287"/>
                      <a:pt x="703" y="290"/>
                    </a:cubicBezTo>
                    <a:cubicBezTo>
                      <a:pt x="703" y="361"/>
                      <a:pt x="703" y="361"/>
                      <a:pt x="703" y="361"/>
                    </a:cubicBezTo>
                    <a:cubicBezTo>
                      <a:pt x="710" y="371"/>
                      <a:pt x="710" y="371"/>
                      <a:pt x="710" y="371"/>
                    </a:cubicBezTo>
                    <a:cubicBezTo>
                      <a:pt x="711" y="372"/>
                      <a:pt x="723" y="389"/>
                      <a:pt x="747" y="406"/>
                    </a:cubicBezTo>
                    <a:cubicBezTo>
                      <a:pt x="747" y="321"/>
                      <a:pt x="747" y="321"/>
                      <a:pt x="747" y="321"/>
                    </a:cubicBezTo>
                    <a:cubicBezTo>
                      <a:pt x="783" y="343"/>
                      <a:pt x="828" y="365"/>
                      <a:pt x="864" y="365"/>
                    </a:cubicBezTo>
                    <a:cubicBezTo>
                      <a:pt x="900" y="365"/>
                      <a:pt x="945" y="343"/>
                      <a:pt x="981" y="320"/>
                    </a:cubicBezTo>
                    <a:cubicBezTo>
                      <a:pt x="981" y="406"/>
                      <a:pt x="981" y="406"/>
                      <a:pt x="981" y="406"/>
                    </a:cubicBezTo>
                    <a:cubicBezTo>
                      <a:pt x="1005" y="389"/>
                      <a:pt x="1017" y="372"/>
                      <a:pt x="1018" y="371"/>
                    </a:cubicBezTo>
                    <a:cubicBezTo>
                      <a:pt x="1025" y="361"/>
                      <a:pt x="1025" y="361"/>
                      <a:pt x="1025" y="361"/>
                    </a:cubicBezTo>
                    <a:cubicBezTo>
                      <a:pt x="1025" y="290"/>
                      <a:pt x="1025" y="290"/>
                      <a:pt x="1025" y="290"/>
                    </a:cubicBezTo>
                    <a:cubicBezTo>
                      <a:pt x="1029" y="287"/>
                      <a:pt x="1032" y="284"/>
                      <a:pt x="1035" y="282"/>
                    </a:cubicBezTo>
                    <a:cubicBezTo>
                      <a:pt x="1063" y="257"/>
                      <a:pt x="1116" y="129"/>
                      <a:pt x="1135" y="79"/>
                    </a:cubicBezTo>
                    <a:cubicBezTo>
                      <a:pt x="1170" y="57"/>
                      <a:pt x="1179" y="20"/>
                      <a:pt x="1182" y="4"/>
                    </a:cubicBezTo>
                    <a:cubicBezTo>
                      <a:pt x="1182" y="3"/>
                      <a:pt x="1182" y="2"/>
                      <a:pt x="1182" y="1"/>
                    </a:cubicBezTo>
                    <a:cubicBezTo>
                      <a:pt x="1127" y="27"/>
                      <a:pt x="1127" y="27"/>
                      <a:pt x="1127" y="27"/>
                    </a:cubicBezTo>
                    <a:cubicBezTo>
                      <a:pt x="1122" y="34"/>
                      <a:pt x="1116" y="40"/>
                      <a:pt x="1107" y="44"/>
                    </a:cubicBezTo>
                    <a:cubicBezTo>
                      <a:pt x="1103" y="47"/>
                      <a:pt x="1099" y="51"/>
                      <a:pt x="1097" y="56"/>
                    </a:cubicBezTo>
                    <a:cubicBezTo>
                      <a:pt x="1065" y="138"/>
                      <a:pt x="1020" y="236"/>
                      <a:pt x="1006" y="249"/>
                    </a:cubicBezTo>
                    <a:cubicBezTo>
                      <a:pt x="978" y="273"/>
                      <a:pt x="903" y="321"/>
                      <a:pt x="864" y="321"/>
                    </a:cubicBezTo>
                    <a:cubicBezTo>
                      <a:pt x="824" y="321"/>
                      <a:pt x="750" y="273"/>
                      <a:pt x="722" y="249"/>
                    </a:cubicBezTo>
                    <a:cubicBezTo>
                      <a:pt x="707" y="236"/>
                      <a:pt x="663" y="138"/>
                      <a:pt x="631" y="56"/>
                    </a:cubicBezTo>
                    <a:cubicBezTo>
                      <a:pt x="629" y="51"/>
                      <a:pt x="625" y="47"/>
                      <a:pt x="620" y="44"/>
                    </a:cubicBezTo>
                    <a:cubicBezTo>
                      <a:pt x="611" y="39"/>
                      <a:pt x="604" y="33"/>
                      <a:pt x="600" y="25"/>
                    </a:cubicBezTo>
                    <a:cubicBezTo>
                      <a:pt x="546" y="0"/>
                      <a:pt x="546" y="0"/>
                      <a:pt x="546" y="0"/>
                    </a:cubicBezTo>
                    <a:cubicBezTo>
                      <a:pt x="546" y="2"/>
                      <a:pt x="546" y="4"/>
                      <a:pt x="546" y="5"/>
                    </a:cubicBezTo>
                    <a:cubicBezTo>
                      <a:pt x="550" y="25"/>
                      <a:pt x="560" y="59"/>
                      <a:pt x="593" y="79"/>
                    </a:cubicBezTo>
                    <a:close/>
                    <a:moveTo>
                      <a:pt x="1728" y="1037"/>
                    </a:moveTo>
                    <a:cubicBezTo>
                      <a:pt x="1728" y="1292"/>
                      <a:pt x="1728" y="1292"/>
                      <a:pt x="1728" y="1292"/>
                    </a:cubicBezTo>
                    <a:cubicBezTo>
                      <a:pt x="1728" y="1304"/>
                      <a:pt x="1718" y="1314"/>
                      <a:pt x="1706" y="1314"/>
                    </a:cubicBezTo>
                    <a:cubicBezTo>
                      <a:pt x="1279" y="1314"/>
                      <a:pt x="1279" y="1314"/>
                      <a:pt x="1279" y="1314"/>
                    </a:cubicBezTo>
                    <a:cubicBezTo>
                      <a:pt x="1267" y="1314"/>
                      <a:pt x="1257" y="1304"/>
                      <a:pt x="1257" y="1292"/>
                    </a:cubicBezTo>
                    <a:cubicBezTo>
                      <a:pt x="1257" y="1037"/>
                      <a:pt x="1257" y="1037"/>
                      <a:pt x="1257" y="1037"/>
                    </a:cubicBezTo>
                    <a:cubicBezTo>
                      <a:pt x="1257" y="1025"/>
                      <a:pt x="1267" y="1015"/>
                      <a:pt x="1279" y="1015"/>
                    </a:cubicBezTo>
                    <a:cubicBezTo>
                      <a:pt x="1471" y="1015"/>
                      <a:pt x="1471" y="1015"/>
                      <a:pt x="1471" y="1015"/>
                    </a:cubicBezTo>
                    <a:cubicBezTo>
                      <a:pt x="1471" y="883"/>
                      <a:pt x="1471" y="883"/>
                      <a:pt x="1471" y="883"/>
                    </a:cubicBezTo>
                    <a:cubicBezTo>
                      <a:pt x="884" y="883"/>
                      <a:pt x="884" y="883"/>
                      <a:pt x="884" y="883"/>
                    </a:cubicBezTo>
                    <a:cubicBezTo>
                      <a:pt x="884" y="1015"/>
                      <a:pt x="884" y="1015"/>
                      <a:pt x="884" y="1015"/>
                    </a:cubicBezTo>
                    <a:cubicBezTo>
                      <a:pt x="1075" y="1015"/>
                      <a:pt x="1075" y="1015"/>
                      <a:pt x="1075" y="1015"/>
                    </a:cubicBezTo>
                    <a:cubicBezTo>
                      <a:pt x="1087" y="1015"/>
                      <a:pt x="1097" y="1025"/>
                      <a:pt x="1097" y="1037"/>
                    </a:cubicBezTo>
                    <a:cubicBezTo>
                      <a:pt x="1097" y="1292"/>
                      <a:pt x="1097" y="1292"/>
                      <a:pt x="1097" y="1292"/>
                    </a:cubicBezTo>
                    <a:cubicBezTo>
                      <a:pt x="1097" y="1304"/>
                      <a:pt x="1087" y="1314"/>
                      <a:pt x="1075" y="1314"/>
                    </a:cubicBezTo>
                    <a:cubicBezTo>
                      <a:pt x="648" y="1314"/>
                      <a:pt x="648" y="1314"/>
                      <a:pt x="648" y="1314"/>
                    </a:cubicBezTo>
                    <a:cubicBezTo>
                      <a:pt x="636" y="1314"/>
                      <a:pt x="626" y="1304"/>
                      <a:pt x="626" y="1292"/>
                    </a:cubicBezTo>
                    <a:cubicBezTo>
                      <a:pt x="626" y="1037"/>
                      <a:pt x="626" y="1037"/>
                      <a:pt x="626" y="1037"/>
                    </a:cubicBezTo>
                    <a:cubicBezTo>
                      <a:pt x="626" y="1025"/>
                      <a:pt x="636" y="1015"/>
                      <a:pt x="648" y="1015"/>
                    </a:cubicBezTo>
                    <a:cubicBezTo>
                      <a:pt x="840" y="1015"/>
                      <a:pt x="840" y="1015"/>
                      <a:pt x="840" y="1015"/>
                    </a:cubicBezTo>
                    <a:cubicBezTo>
                      <a:pt x="840" y="883"/>
                      <a:pt x="840" y="883"/>
                      <a:pt x="840" y="883"/>
                    </a:cubicBezTo>
                    <a:cubicBezTo>
                      <a:pt x="257" y="883"/>
                      <a:pt x="257" y="883"/>
                      <a:pt x="257" y="883"/>
                    </a:cubicBezTo>
                    <a:cubicBezTo>
                      <a:pt x="257" y="1015"/>
                      <a:pt x="257" y="1015"/>
                      <a:pt x="257" y="1015"/>
                    </a:cubicBezTo>
                    <a:cubicBezTo>
                      <a:pt x="449" y="1015"/>
                      <a:pt x="449" y="1015"/>
                      <a:pt x="449" y="1015"/>
                    </a:cubicBezTo>
                    <a:cubicBezTo>
                      <a:pt x="461" y="1015"/>
                      <a:pt x="471" y="1025"/>
                      <a:pt x="471" y="1037"/>
                    </a:cubicBezTo>
                    <a:cubicBezTo>
                      <a:pt x="471" y="1292"/>
                      <a:pt x="471" y="1292"/>
                      <a:pt x="471" y="1292"/>
                    </a:cubicBezTo>
                    <a:cubicBezTo>
                      <a:pt x="471" y="1304"/>
                      <a:pt x="461" y="1314"/>
                      <a:pt x="449" y="1314"/>
                    </a:cubicBezTo>
                    <a:cubicBezTo>
                      <a:pt x="22" y="1314"/>
                      <a:pt x="22" y="1314"/>
                      <a:pt x="22" y="1314"/>
                    </a:cubicBezTo>
                    <a:cubicBezTo>
                      <a:pt x="10" y="1314"/>
                      <a:pt x="0" y="1304"/>
                      <a:pt x="0" y="1292"/>
                    </a:cubicBezTo>
                    <a:cubicBezTo>
                      <a:pt x="0" y="1037"/>
                      <a:pt x="0" y="1037"/>
                      <a:pt x="0" y="1037"/>
                    </a:cubicBezTo>
                    <a:cubicBezTo>
                      <a:pt x="0" y="1025"/>
                      <a:pt x="10" y="1015"/>
                      <a:pt x="22" y="1015"/>
                    </a:cubicBezTo>
                    <a:cubicBezTo>
                      <a:pt x="213" y="1015"/>
                      <a:pt x="213" y="1015"/>
                      <a:pt x="213" y="1015"/>
                    </a:cubicBezTo>
                    <a:cubicBezTo>
                      <a:pt x="213" y="861"/>
                      <a:pt x="213" y="861"/>
                      <a:pt x="213" y="861"/>
                    </a:cubicBezTo>
                    <a:cubicBezTo>
                      <a:pt x="213" y="849"/>
                      <a:pt x="223" y="839"/>
                      <a:pt x="235" y="839"/>
                    </a:cubicBezTo>
                    <a:cubicBezTo>
                      <a:pt x="840" y="839"/>
                      <a:pt x="840" y="839"/>
                      <a:pt x="840" y="839"/>
                    </a:cubicBezTo>
                    <a:cubicBezTo>
                      <a:pt x="840" y="709"/>
                      <a:pt x="840" y="709"/>
                      <a:pt x="840" y="709"/>
                    </a:cubicBezTo>
                    <a:cubicBezTo>
                      <a:pt x="884" y="709"/>
                      <a:pt x="884" y="709"/>
                      <a:pt x="884" y="709"/>
                    </a:cubicBezTo>
                    <a:cubicBezTo>
                      <a:pt x="884" y="839"/>
                      <a:pt x="884" y="839"/>
                      <a:pt x="884" y="839"/>
                    </a:cubicBezTo>
                    <a:cubicBezTo>
                      <a:pt x="1493" y="839"/>
                      <a:pt x="1493" y="839"/>
                      <a:pt x="1493" y="839"/>
                    </a:cubicBezTo>
                    <a:cubicBezTo>
                      <a:pt x="1505" y="839"/>
                      <a:pt x="1515" y="849"/>
                      <a:pt x="1515" y="861"/>
                    </a:cubicBezTo>
                    <a:cubicBezTo>
                      <a:pt x="1515" y="1015"/>
                      <a:pt x="1515" y="1015"/>
                      <a:pt x="1515" y="1015"/>
                    </a:cubicBezTo>
                    <a:cubicBezTo>
                      <a:pt x="1706" y="1015"/>
                      <a:pt x="1706" y="1015"/>
                      <a:pt x="1706" y="1015"/>
                    </a:cubicBezTo>
                    <a:cubicBezTo>
                      <a:pt x="1718" y="1015"/>
                      <a:pt x="1728" y="1025"/>
                      <a:pt x="1728" y="1037"/>
                    </a:cubicBezTo>
                    <a:close/>
                    <a:moveTo>
                      <a:pt x="44" y="1059"/>
                    </a:moveTo>
                    <a:cubicBezTo>
                      <a:pt x="44" y="1270"/>
                      <a:pt x="44" y="1270"/>
                      <a:pt x="44" y="1270"/>
                    </a:cubicBezTo>
                    <a:cubicBezTo>
                      <a:pt x="427" y="1270"/>
                      <a:pt x="427" y="1270"/>
                      <a:pt x="427" y="1270"/>
                    </a:cubicBezTo>
                    <a:cubicBezTo>
                      <a:pt x="427" y="1059"/>
                      <a:pt x="427" y="1059"/>
                      <a:pt x="427" y="1059"/>
                    </a:cubicBezTo>
                    <a:lnTo>
                      <a:pt x="44" y="1059"/>
                    </a:lnTo>
                    <a:close/>
                    <a:moveTo>
                      <a:pt x="670" y="1059"/>
                    </a:moveTo>
                    <a:cubicBezTo>
                      <a:pt x="670" y="1270"/>
                      <a:pt x="670" y="1270"/>
                      <a:pt x="670" y="1270"/>
                    </a:cubicBezTo>
                    <a:cubicBezTo>
                      <a:pt x="1053" y="1270"/>
                      <a:pt x="1053" y="1270"/>
                      <a:pt x="1053" y="1270"/>
                    </a:cubicBezTo>
                    <a:cubicBezTo>
                      <a:pt x="1053" y="1059"/>
                      <a:pt x="1053" y="1059"/>
                      <a:pt x="1053" y="1059"/>
                    </a:cubicBezTo>
                    <a:lnTo>
                      <a:pt x="670" y="1059"/>
                    </a:lnTo>
                    <a:close/>
                    <a:moveTo>
                      <a:pt x="1684" y="1059"/>
                    </a:moveTo>
                    <a:cubicBezTo>
                      <a:pt x="1301" y="1059"/>
                      <a:pt x="1301" y="1059"/>
                      <a:pt x="1301" y="1059"/>
                    </a:cubicBezTo>
                    <a:cubicBezTo>
                      <a:pt x="1301" y="1270"/>
                      <a:pt x="1301" y="1270"/>
                      <a:pt x="1301" y="1270"/>
                    </a:cubicBezTo>
                    <a:cubicBezTo>
                      <a:pt x="1684" y="1270"/>
                      <a:pt x="1684" y="1270"/>
                      <a:pt x="1684" y="1270"/>
                    </a:cubicBezTo>
                    <a:lnTo>
                      <a:pt x="1684" y="10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sp>
        <p:nvSpPr>
          <p:cNvPr id="103" name="Oval 102"/>
          <p:cNvSpPr>
            <a:spLocks noChangeAspect="1"/>
          </p:cNvSpPr>
          <p:nvPr/>
        </p:nvSpPr>
        <p:spPr>
          <a:xfrm>
            <a:off x="1708071" y="3241114"/>
            <a:ext cx="1556871" cy="1556871"/>
          </a:xfrm>
          <a:prstGeom prst="ellipse">
            <a:avLst/>
          </a:prstGeom>
          <a:solidFill>
            <a:schemeClr val="bg2">
              <a:lumMod val="10000"/>
              <a:alpha val="49000"/>
            </a:schemeClr>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5"/>
                    </a:gs>
                    <a:gs pos="100000">
                      <a:schemeClr val="bg1">
                        <a:lumMod val="75000"/>
                      </a:schemeClr>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s-ES" sz="1700" kern="0" dirty="0">
                <a:solidFill>
                  <a:srgbClr val="FFFFFF"/>
                </a:solidFill>
              </a:rPr>
              <a:t>Respuestas clave en gestión de personas</a:t>
            </a:r>
          </a:p>
        </p:txBody>
      </p:sp>
      <p:cxnSp>
        <p:nvCxnSpPr>
          <p:cNvPr id="83" name="Elbow Connector 82"/>
          <p:cNvCxnSpPr/>
          <p:nvPr/>
        </p:nvCxnSpPr>
        <p:spPr>
          <a:xfrm rot="10800000" flipV="1">
            <a:off x="2486512" y="2372012"/>
            <a:ext cx="3629671" cy="873363"/>
          </a:xfrm>
          <a:prstGeom prst="bentConnector3">
            <a:avLst>
              <a:gd name="adj1" fmla="val 100122"/>
            </a:avLst>
          </a:prstGeom>
          <a:ln w="19050" cap="rnd" cmpd="sng" algn="ctr">
            <a:solidFill>
              <a:srgbClr val="6E6F73"/>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7" name="Group 96"/>
          <p:cNvGrpSpPr>
            <a:grpSpLocks noChangeAspect="1"/>
          </p:cNvGrpSpPr>
          <p:nvPr/>
        </p:nvGrpSpPr>
        <p:grpSpPr>
          <a:xfrm>
            <a:off x="5373233" y="1622425"/>
            <a:ext cx="742263" cy="742950"/>
            <a:chOff x="5273801" y="2606040"/>
            <a:chExt cx="1644397" cy="1645920"/>
          </a:xfrm>
        </p:grpSpPr>
        <p:sp>
          <p:nvSpPr>
            <p:cNvPr id="98"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99" name="Group 98"/>
            <p:cNvGrpSpPr/>
            <p:nvPr/>
          </p:nvGrpSpPr>
          <p:grpSpPr>
            <a:xfrm>
              <a:off x="5439917" y="2787396"/>
              <a:ext cx="1310641" cy="1281684"/>
              <a:chOff x="5439917" y="2787396"/>
              <a:chExt cx="1310641" cy="1281684"/>
            </a:xfrm>
          </p:grpSpPr>
          <p:sp>
            <p:nvSpPr>
              <p:cNvPr id="100"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01"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sp>
        <p:nvSpPr>
          <p:cNvPr id="102" name="TextBox 101"/>
          <p:cNvSpPr txBox="1"/>
          <p:nvPr/>
        </p:nvSpPr>
        <p:spPr>
          <a:xfrm>
            <a:off x="5442397" y="2424101"/>
            <a:ext cx="615553" cy="307777"/>
          </a:xfrm>
          <a:prstGeom prst="rect">
            <a:avLst/>
          </a:prstGeom>
          <a:noFill/>
          <a:extLst>
            <a:ext uri="{909E8E84-426E-40DD-AFC4-6F175D3DCCD1}">
              <a14:hiddenFill xmlns:a14="http://schemas.microsoft.com/office/drawing/2010/main">
                <a:solidFill>
                  <a:srgbClr val="F2F2F2"/>
                </a:solidFill>
              </a14:hiddenFill>
            </a:ext>
          </a:extLst>
        </p:spPr>
        <p:txBody>
          <a:bodyPr wrap="none" lIns="0" tIns="0" rIns="0" bIns="0" rtlCol="0" anchor="ctr" anchorCtr="0">
            <a:spAutoFit/>
          </a:bodyPr>
          <a:lstStyle/>
          <a:p>
            <a:pP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Salud</a:t>
            </a:r>
          </a:p>
        </p:txBody>
      </p:sp>
      <p:sp>
        <p:nvSpPr>
          <p:cNvPr id="82" name="Oval 81"/>
          <p:cNvSpPr>
            <a:spLocks noChangeAspect="1"/>
          </p:cNvSpPr>
          <p:nvPr/>
        </p:nvSpPr>
        <p:spPr>
          <a:xfrm>
            <a:off x="1708071" y="3245377"/>
            <a:ext cx="1556871" cy="1556871"/>
          </a:xfrm>
          <a:prstGeom prst="ellipse">
            <a:avLst/>
          </a:prstGeom>
          <a:grpFill/>
          <a:ln w="76200">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sp>
        <p:nvSpPr>
          <p:cNvPr id="53" name="ee4pFootnotes"/>
          <p:cNvSpPr>
            <a:spLocks noChangeArrowheads="1"/>
          </p:cNvSpPr>
          <p:nvPr/>
        </p:nvSpPr>
        <p:spPr bwMode="auto">
          <a:xfrm>
            <a:off x="630000" y="6432327"/>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s-ES" sz="1000" dirty="0">
                <a:solidFill>
                  <a:schemeClr val="bg1">
                    <a:lumMod val="50000"/>
                  </a:schemeClr>
                </a:solidFill>
                <a:latin typeface="Trebuchet MS" panose="020B0603020202020204" pitchFamily="34" charset="0"/>
                <a:cs typeface="Arial" pitchFamily="34" charset="0"/>
              </a:rPr>
              <a:t>Fuente: BCG</a:t>
            </a:r>
          </a:p>
        </p:txBody>
      </p:sp>
      <p:sp>
        <p:nvSpPr>
          <p:cNvPr id="47" name="Oval 20"/>
          <p:cNvSpPr>
            <a:spLocks noChangeAspect="1" noChangeArrowheads="1"/>
          </p:cNvSpPr>
          <p:nvPr/>
        </p:nvSpPr>
        <p:spPr bwMode="auto">
          <a:xfrm>
            <a:off x="6381728" y="1974286"/>
            <a:ext cx="274706" cy="274706"/>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1</a:t>
            </a:r>
          </a:p>
        </p:txBody>
      </p:sp>
      <p:sp>
        <p:nvSpPr>
          <p:cNvPr id="48" name="Oval 20"/>
          <p:cNvSpPr>
            <a:spLocks noChangeAspect="1" noChangeArrowheads="1"/>
          </p:cNvSpPr>
          <p:nvPr/>
        </p:nvSpPr>
        <p:spPr bwMode="auto">
          <a:xfrm>
            <a:off x="6373932" y="2562857"/>
            <a:ext cx="274706" cy="274706"/>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2</a:t>
            </a:r>
          </a:p>
        </p:txBody>
      </p:sp>
      <p:sp>
        <p:nvSpPr>
          <p:cNvPr id="52" name="Oval 20"/>
          <p:cNvSpPr>
            <a:spLocks noChangeAspect="1" noChangeArrowheads="1"/>
          </p:cNvSpPr>
          <p:nvPr/>
        </p:nvSpPr>
        <p:spPr bwMode="auto">
          <a:xfrm>
            <a:off x="6381728" y="3534992"/>
            <a:ext cx="274706" cy="274706"/>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3</a:t>
            </a:r>
          </a:p>
        </p:txBody>
      </p:sp>
      <p:sp>
        <p:nvSpPr>
          <p:cNvPr id="54" name="Oval 20"/>
          <p:cNvSpPr>
            <a:spLocks noChangeAspect="1" noChangeArrowheads="1"/>
          </p:cNvSpPr>
          <p:nvPr/>
        </p:nvSpPr>
        <p:spPr bwMode="auto">
          <a:xfrm>
            <a:off x="6382048" y="4297230"/>
            <a:ext cx="284046" cy="274706"/>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4</a:t>
            </a:r>
          </a:p>
        </p:txBody>
      </p:sp>
      <p:sp>
        <p:nvSpPr>
          <p:cNvPr id="55" name="Oval 20"/>
          <p:cNvSpPr>
            <a:spLocks noChangeAspect="1" noChangeArrowheads="1"/>
          </p:cNvSpPr>
          <p:nvPr/>
        </p:nvSpPr>
        <p:spPr bwMode="auto">
          <a:xfrm>
            <a:off x="6381728" y="5377931"/>
            <a:ext cx="274706" cy="274706"/>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5</a:t>
            </a:r>
          </a:p>
        </p:txBody>
      </p:sp>
      <p:sp>
        <p:nvSpPr>
          <p:cNvPr id="56" name="Oval 55"/>
          <p:cNvSpPr>
            <a:spLocks noChangeAspect="1" noChangeArrowheads="1"/>
          </p:cNvSpPr>
          <p:nvPr/>
        </p:nvSpPr>
        <p:spPr bwMode="auto">
          <a:xfrm>
            <a:off x="6381728" y="5984898"/>
            <a:ext cx="274706" cy="274706"/>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6</a:t>
            </a:r>
          </a:p>
        </p:txBody>
      </p:sp>
    </p:spTree>
    <p:extLst>
      <p:ext uri="{BB962C8B-B14F-4D97-AF65-F5344CB8AC3E}">
        <p14:creationId xmlns:p14="http://schemas.microsoft.com/office/powerpoint/2010/main" val="404518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16="http://schemas.microsoft.com/office/drawing/2014/main" xmlns:a14="http://schemas.microsoft.com/office/drawing/2010/main" xmlns:v="urn:schemas-microsoft-com:vml"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sz="3400" dirty="0">
              <a:solidFill>
                <a:srgbClr val="FFFFFF"/>
              </a:solidFill>
              <a:latin typeface="Trebuchet MS" panose="020B0603020202020204" pitchFamily="34" charset="0"/>
              <a:ea typeface="+mj-ea"/>
              <a:cs typeface="+mj-cs"/>
              <a:sym typeface="Trebuchet MS" panose="020B0603020202020204" pitchFamily="34" charset="0"/>
            </a:endParaRPr>
          </a:p>
        </p:txBody>
      </p:sp>
      <p:cxnSp>
        <p:nvCxnSpPr>
          <p:cNvPr id="58" name="Straight Connector 57"/>
          <p:cNvCxnSpPr/>
          <p:nvPr/>
        </p:nvCxnSpPr>
        <p:spPr>
          <a:xfrm flipH="1">
            <a:off x="11022409" y="1499339"/>
            <a:ext cx="1" cy="5149434"/>
          </a:xfrm>
          <a:prstGeom prst="line">
            <a:avLst/>
          </a:prstGeom>
          <a:ln w="19050" cap="rnd" cmpd="sng" algn="ctr">
            <a:solidFill>
              <a:srgbClr val="6E6F73"/>
            </a:solidFill>
            <a:prstDash val="solid"/>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0430358" y="3448062"/>
            <a:ext cx="1255363" cy="244601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marL="271463" lvl="1" indent="-271463">
              <a:buClr>
                <a:schemeClr val="tx2">
                  <a:lumMod val="100000"/>
                </a:schemeClr>
              </a:buClr>
              <a:buSzPct val="100000"/>
            </a:pPr>
            <a:r>
              <a:rPr lang="es-ES" sz="1000" dirty="0">
                <a:solidFill>
                  <a:srgbClr val="575757"/>
                </a:solidFill>
                <a:latin typeface="Trebuchet MS" panose="020B0603020202020204" pitchFamily="34" charset="0"/>
              </a:rPr>
              <a:t>7-1: Identificar necesidades y proporcionar el </a:t>
            </a:r>
            <a:r>
              <a:rPr lang="es-ES" sz="1000" i="1" dirty="0">
                <a:solidFill>
                  <a:srgbClr val="575757"/>
                </a:solidFill>
                <a:latin typeface="Trebuchet MS" panose="020B0603020202020204" pitchFamily="34" charset="0"/>
              </a:rPr>
              <a:t>hardware</a:t>
            </a:r>
            <a:r>
              <a:rPr lang="es-ES" sz="1000" dirty="0">
                <a:solidFill>
                  <a:srgbClr val="575757"/>
                </a:solidFill>
                <a:latin typeface="Trebuchet MS" panose="020B0603020202020204" pitchFamily="34" charset="0"/>
              </a:rPr>
              <a:t> necesario </a:t>
            </a:r>
          </a:p>
          <a:p>
            <a:pPr marL="271463" lvl="1" indent="-271463">
              <a:buClr>
                <a:schemeClr val="tx2">
                  <a:lumMod val="100000"/>
                </a:schemeClr>
              </a:buClr>
              <a:buSzPct val="100000"/>
            </a:pPr>
            <a:r>
              <a:rPr lang="es-ES" sz="1000" dirty="0">
                <a:solidFill>
                  <a:srgbClr val="575757"/>
                </a:solidFill>
                <a:latin typeface="Trebuchet MS" panose="020B0603020202020204" pitchFamily="34" charset="0"/>
              </a:rPr>
              <a:t>7-2: Proporcionar </a:t>
            </a:r>
            <a:r>
              <a:rPr lang="es-ES" sz="1000" i="1" dirty="0">
                <a:solidFill>
                  <a:srgbClr val="575757"/>
                </a:solidFill>
                <a:latin typeface="Trebuchet MS" panose="020B0603020202020204" pitchFamily="34" charset="0"/>
              </a:rPr>
              <a:t>software</a:t>
            </a:r>
            <a:r>
              <a:rPr lang="es-ES" sz="1000" dirty="0">
                <a:solidFill>
                  <a:srgbClr val="575757"/>
                </a:solidFill>
                <a:latin typeface="Trebuchet MS" panose="020B0603020202020204" pitchFamily="34" charset="0"/>
              </a:rPr>
              <a:t> y herramientas adecuados </a:t>
            </a:r>
          </a:p>
          <a:p>
            <a:pPr marL="271463" lvl="1" indent="-271463">
              <a:buClr>
                <a:schemeClr val="tx2">
                  <a:lumMod val="100000"/>
                </a:schemeClr>
              </a:buClr>
              <a:buSzPct val="100000"/>
            </a:pPr>
            <a:r>
              <a:rPr lang="es-ES" sz="1000" dirty="0">
                <a:solidFill>
                  <a:srgbClr val="575757"/>
                </a:solidFill>
                <a:latin typeface="Trebuchet MS" panose="020B0603020202020204" pitchFamily="34" charset="0"/>
              </a:rPr>
              <a:t>7-3: Formar a las personas en digitalización</a:t>
            </a:r>
          </a:p>
          <a:p>
            <a:pPr marL="271463" lvl="1" indent="-271463">
              <a:buClr>
                <a:schemeClr val="tx2">
                  <a:lumMod val="100000"/>
                </a:schemeClr>
              </a:buClr>
              <a:buSzPct val="100000"/>
            </a:pPr>
            <a:r>
              <a:rPr lang="es-ES" sz="1000" dirty="0">
                <a:solidFill>
                  <a:srgbClr val="575757"/>
                </a:solidFill>
                <a:latin typeface="Trebuchet MS" panose="020B0603020202020204" pitchFamily="34" charset="0"/>
              </a:rPr>
              <a:t>7-4: Crear equipos de soporte tecnológico</a:t>
            </a:r>
          </a:p>
        </p:txBody>
      </p:sp>
      <p:sp>
        <p:nvSpPr>
          <p:cNvPr id="4" name="Title 3"/>
          <p:cNvSpPr>
            <a:spLocks noGrp="1"/>
          </p:cNvSpPr>
          <p:nvPr>
            <p:ph type="title"/>
          </p:nvPr>
        </p:nvSpPr>
        <p:spPr>
          <a:xfrm>
            <a:off x="630000" y="622800"/>
            <a:ext cx="10933200" cy="941796"/>
          </a:xfrm>
        </p:spPr>
        <p:txBody>
          <a:bodyPr/>
          <a:lstStyle/>
          <a:p>
            <a:r>
              <a:rPr lang="es-ES" dirty="0"/>
              <a:t>Siete respuestas para afrontar el COVID-19</a:t>
            </a:r>
            <a:br>
              <a:rPr lang="es-ES" dirty="0"/>
            </a:br>
            <a:r>
              <a:rPr lang="es-ES" dirty="0"/>
              <a:t>desde la perspectiva de las personas</a:t>
            </a:r>
          </a:p>
        </p:txBody>
      </p:sp>
      <p:sp>
        <p:nvSpPr>
          <p:cNvPr id="31" name="Oval 20"/>
          <p:cNvSpPr>
            <a:spLocks noChangeAspect="1" noChangeArrowheads="1"/>
          </p:cNvSpPr>
          <p:nvPr/>
        </p:nvSpPr>
        <p:spPr bwMode="auto">
          <a:xfrm>
            <a:off x="6381728" y="1495363"/>
            <a:ext cx="274706" cy="274706"/>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1</a:t>
            </a:r>
          </a:p>
        </p:txBody>
      </p:sp>
      <p:grpSp>
        <p:nvGrpSpPr>
          <p:cNvPr id="5" name="Group 4"/>
          <p:cNvGrpSpPr/>
          <p:nvPr/>
        </p:nvGrpSpPr>
        <p:grpSpPr>
          <a:xfrm>
            <a:off x="6757043" y="1525843"/>
            <a:ext cx="3598243" cy="834017"/>
            <a:chOff x="7463841" y="1433079"/>
            <a:chExt cx="4467659" cy="834017"/>
          </a:xfrm>
        </p:grpSpPr>
        <p:sp>
          <p:nvSpPr>
            <p:cNvPr id="26" name="TextBox 25"/>
            <p:cNvSpPr txBox="1"/>
            <p:nvPr/>
          </p:nvSpPr>
          <p:spPr>
            <a:xfrm>
              <a:off x="7463841" y="1433079"/>
              <a:ext cx="3875223"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rPr>
                <a:t>Potenciar el "</a:t>
              </a:r>
              <a:r>
                <a:rPr lang="es-ES" sz="1400" i="1" dirty="0">
                  <a:solidFill>
                    <a:srgbClr val="575757"/>
                  </a:solidFill>
                </a:rPr>
                <a:t>Smart </a:t>
              </a:r>
              <a:r>
                <a:rPr lang="es-ES" sz="1400" i="1" dirty="0" err="1">
                  <a:solidFill>
                    <a:srgbClr val="575757"/>
                  </a:solidFill>
                </a:rPr>
                <a:t>Work</a:t>
              </a:r>
              <a:r>
                <a:rPr lang="es-ES" sz="1400" dirty="0">
                  <a:solidFill>
                    <a:srgbClr val="575757"/>
                  </a:solidFill>
                </a:rPr>
                <a:t>"</a:t>
              </a:r>
            </a:p>
          </p:txBody>
        </p:sp>
        <p:sp>
          <p:nvSpPr>
            <p:cNvPr id="45" name="TextBox 44"/>
            <p:cNvSpPr txBox="1"/>
            <p:nvPr/>
          </p:nvSpPr>
          <p:spPr>
            <a:xfrm>
              <a:off x="7463841" y="1651543"/>
              <a:ext cx="4467659"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lumMod val="100000"/>
                  </a:schemeClr>
                </a:buClr>
                <a:buSzPct val="100000"/>
              </a:pPr>
              <a:r>
                <a:rPr lang="es-ES" sz="1000" dirty="0">
                  <a:solidFill>
                    <a:srgbClr val="575757"/>
                  </a:solidFill>
                  <a:latin typeface="Trebuchet MS" panose="020B0603020202020204" pitchFamily="34" charset="0"/>
                </a:rPr>
                <a:t>1-1: </a:t>
              </a:r>
              <a:r>
                <a:rPr lang="es-ES" sz="1000" dirty="0">
                  <a:solidFill>
                    <a:srgbClr val="575757"/>
                  </a:solidFill>
                </a:rPr>
                <a:t>Trabajar en remoto</a:t>
              </a:r>
            </a:p>
            <a:p>
              <a:pPr marL="108000" lvl="1">
                <a:buClr>
                  <a:schemeClr val="tx2">
                    <a:lumMod val="100000"/>
                  </a:schemeClr>
                </a:buClr>
                <a:buSzPct val="100000"/>
              </a:pPr>
              <a:r>
                <a:rPr lang="es-ES" sz="1000" dirty="0">
                  <a:solidFill>
                    <a:srgbClr val="575757"/>
                  </a:solidFill>
                </a:rPr>
                <a:t>1-2: Reducir las reuniones multitudinarias</a:t>
              </a:r>
            </a:p>
            <a:p>
              <a:pPr marL="108000" lvl="1">
                <a:buClr>
                  <a:schemeClr val="tx2">
                    <a:lumMod val="100000"/>
                  </a:schemeClr>
                </a:buClr>
                <a:buSzPct val="100000"/>
              </a:pPr>
              <a:r>
                <a:rPr lang="es-ES" sz="1000" dirty="0">
                  <a:solidFill>
                    <a:srgbClr val="575757"/>
                  </a:solidFill>
                  <a:latin typeface="Trebuchet MS" panose="020B0603020202020204" pitchFamily="34" charset="0"/>
                </a:rPr>
                <a:t>1-3: Crear</a:t>
              </a:r>
              <a:r>
                <a:rPr lang="es-ES" sz="1000" dirty="0">
                  <a:solidFill>
                    <a:srgbClr val="575757"/>
                  </a:solidFill>
                </a:rPr>
                <a:t> equipos Agile virtuales</a:t>
              </a:r>
            </a:p>
            <a:p>
              <a:pPr marL="108000" lvl="1">
                <a:buClr>
                  <a:schemeClr val="tx2">
                    <a:lumMod val="100000"/>
                  </a:schemeClr>
                </a:buClr>
                <a:buSzPct val="100000"/>
              </a:pPr>
              <a:r>
                <a:rPr lang="es-ES" sz="1000" dirty="0">
                  <a:solidFill>
                    <a:srgbClr val="575757"/>
                  </a:solidFill>
                  <a:latin typeface="Trebuchet MS" panose="020B0603020202020204" pitchFamily="34" charset="0"/>
                </a:rPr>
                <a:t>1-4: Adaptar las políticas de viajes</a:t>
              </a:r>
            </a:p>
          </p:txBody>
        </p:sp>
      </p:grpSp>
      <p:sp>
        <p:nvSpPr>
          <p:cNvPr id="30" name="Oval 20"/>
          <p:cNvSpPr>
            <a:spLocks noChangeAspect="1" noChangeArrowheads="1"/>
          </p:cNvSpPr>
          <p:nvPr/>
        </p:nvSpPr>
        <p:spPr bwMode="auto">
          <a:xfrm>
            <a:off x="6373932" y="2408974"/>
            <a:ext cx="274706" cy="274706"/>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2</a:t>
            </a:r>
          </a:p>
        </p:txBody>
      </p:sp>
      <p:grpSp>
        <p:nvGrpSpPr>
          <p:cNvPr id="6" name="Group 5"/>
          <p:cNvGrpSpPr/>
          <p:nvPr/>
        </p:nvGrpSpPr>
        <p:grpSpPr>
          <a:xfrm>
            <a:off x="6749247" y="2440320"/>
            <a:ext cx="4190294" cy="832283"/>
            <a:chOff x="7456045" y="2409175"/>
            <a:chExt cx="5202763" cy="832283"/>
          </a:xfrm>
        </p:grpSpPr>
        <p:sp>
          <p:nvSpPr>
            <p:cNvPr id="29" name="TextBox 28"/>
            <p:cNvSpPr txBox="1"/>
            <p:nvPr/>
          </p:nvSpPr>
          <p:spPr>
            <a:xfrm>
              <a:off x="7456045" y="2409175"/>
              <a:ext cx="5202763"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latin typeface="Trebuchet MS" panose="020B0603020202020204" pitchFamily="34" charset="0"/>
                </a:rPr>
                <a:t>Intensificar la salud e higiene en el trabajo</a:t>
              </a:r>
            </a:p>
          </p:txBody>
        </p:sp>
        <p:sp>
          <p:nvSpPr>
            <p:cNvPr id="46" name="TextBox 45"/>
            <p:cNvSpPr txBox="1"/>
            <p:nvPr/>
          </p:nvSpPr>
          <p:spPr>
            <a:xfrm>
              <a:off x="7456045" y="2625905"/>
              <a:ext cx="4467659"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lumMod val="100000"/>
                  </a:schemeClr>
                </a:buClr>
                <a:buSzPct val="100000"/>
              </a:pPr>
              <a:r>
                <a:rPr lang="es-ES" sz="1000" dirty="0">
                  <a:solidFill>
                    <a:srgbClr val="575757"/>
                  </a:solidFill>
                  <a:latin typeface="Trebuchet MS" panose="020B0603020202020204" pitchFamily="34" charset="0"/>
                </a:rPr>
                <a:t>2-1: Facilitar la higiene de cada empleado</a:t>
              </a:r>
            </a:p>
            <a:p>
              <a:pPr marL="108000" lvl="1">
                <a:buClr>
                  <a:schemeClr val="tx2">
                    <a:lumMod val="100000"/>
                  </a:schemeClr>
                </a:buClr>
                <a:buSzPct val="100000"/>
              </a:pPr>
              <a:r>
                <a:rPr lang="es-ES" sz="1000" dirty="0">
                  <a:solidFill>
                    <a:srgbClr val="575757"/>
                  </a:solidFill>
                  <a:latin typeface="Trebuchet MS" panose="020B0603020202020204" pitchFamily="34" charset="0"/>
                </a:rPr>
                <a:t>2-2: Mejorar la higiene en el lugar de trabajo</a:t>
              </a:r>
            </a:p>
            <a:p>
              <a:pPr marL="108000" lvl="1">
                <a:buClr>
                  <a:schemeClr val="tx2">
                    <a:lumMod val="100000"/>
                  </a:schemeClr>
                </a:buClr>
                <a:buSzPct val="100000"/>
              </a:pPr>
              <a:r>
                <a:rPr lang="es-ES" sz="1000" dirty="0">
                  <a:solidFill>
                    <a:srgbClr val="575757"/>
                  </a:solidFill>
                  <a:latin typeface="Trebuchet MS" panose="020B0603020202020204" pitchFamily="34" charset="0"/>
                </a:rPr>
                <a:t>2-3: Facilitar y supervisar la salud de los empleados</a:t>
              </a:r>
            </a:p>
            <a:p>
              <a:pPr marL="108000" lvl="1">
                <a:buClr>
                  <a:schemeClr val="tx2">
                    <a:lumMod val="100000"/>
                  </a:schemeClr>
                </a:buClr>
                <a:buSzPct val="100000"/>
              </a:pPr>
              <a:r>
                <a:rPr lang="es-ES" sz="1000" dirty="0">
                  <a:solidFill>
                    <a:srgbClr val="575757"/>
                  </a:solidFill>
                  <a:latin typeface="Trebuchet MS" panose="020B0603020202020204" pitchFamily="34" charset="0"/>
                </a:rPr>
                <a:t>2-4: Adoptar nuevos hábitos de higiene y salud</a:t>
              </a:r>
            </a:p>
          </p:txBody>
        </p:sp>
      </p:grpSp>
      <p:sp>
        <p:nvSpPr>
          <p:cNvPr id="12" name="Oval 20"/>
          <p:cNvSpPr>
            <a:spLocks noChangeAspect="1" noChangeArrowheads="1"/>
          </p:cNvSpPr>
          <p:nvPr/>
        </p:nvSpPr>
        <p:spPr bwMode="auto">
          <a:xfrm>
            <a:off x="6381728" y="3283662"/>
            <a:ext cx="274706" cy="274706"/>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3</a:t>
            </a:r>
          </a:p>
        </p:txBody>
      </p:sp>
      <p:grpSp>
        <p:nvGrpSpPr>
          <p:cNvPr id="7" name="Group 6"/>
          <p:cNvGrpSpPr/>
          <p:nvPr/>
        </p:nvGrpSpPr>
        <p:grpSpPr>
          <a:xfrm>
            <a:off x="6757042" y="3315876"/>
            <a:ext cx="3700566" cy="685331"/>
            <a:chOff x="7463841" y="3339448"/>
            <a:chExt cx="4594706" cy="685331"/>
          </a:xfrm>
        </p:grpSpPr>
        <p:sp>
          <p:nvSpPr>
            <p:cNvPr id="15" name="TextBox 14"/>
            <p:cNvSpPr txBox="1"/>
            <p:nvPr/>
          </p:nvSpPr>
          <p:spPr>
            <a:xfrm>
              <a:off x="7463841" y="3339448"/>
              <a:ext cx="459470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rPr>
                <a:t>Mitigar el riesgo de las personas</a:t>
              </a:r>
            </a:p>
          </p:txBody>
        </p:sp>
        <p:sp>
          <p:nvSpPr>
            <p:cNvPr id="47" name="TextBox 46"/>
            <p:cNvSpPr txBox="1"/>
            <p:nvPr/>
          </p:nvSpPr>
          <p:spPr>
            <a:xfrm>
              <a:off x="7463841" y="3563114"/>
              <a:ext cx="4467659"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lumMod val="100000"/>
                  </a:schemeClr>
                </a:buClr>
                <a:buSzPct val="100000"/>
              </a:pPr>
              <a:r>
                <a:rPr lang="es-ES" sz="1000" dirty="0">
                  <a:solidFill>
                    <a:srgbClr val="575757"/>
                  </a:solidFill>
                  <a:latin typeface="Trebuchet MS" panose="020B0603020202020204" pitchFamily="34" charset="0"/>
                </a:rPr>
                <a:t>3-1: Identificar y dar apoyo a funciones clave</a:t>
              </a:r>
            </a:p>
            <a:p>
              <a:pPr marL="108000" lvl="1">
                <a:buClr>
                  <a:schemeClr val="tx2">
                    <a:lumMod val="100000"/>
                  </a:schemeClr>
                </a:buClr>
                <a:buSzPct val="100000"/>
              </a:pPr>
              <a:r>
                <a:rPr lang="es-ES" sz="1000" dirty="0">
                  <a:solidFill>
                    <a:srgbClr val="575757"/>
                  </a:solidFill>
                  <a:latin typeface="Trebuchet MS" panose="020B0603020202020204" pitchFamily="34" charset="0"/>
                </a:rPr>
                <a:t>3-2: Disminuir la exposición al riesgo </a:t>
              </a:r>
            </a:p>
            <a:p>
              <a:pPr marL="108000" lvl="1">
                <a:buClr>
                  <a:schemeClr val="tx2">
                    <a:lumMod val="100000"/>
                  </a:schemeClr>
                </a:buClr>
                <a:buSzPct val="100000"/>
              </a:pPr>
              <a:r>
                <a:rPr lang="es-ES" sz="1000" dirty="0">
                  <a:solidFill>
                    <a:srgbClr val="575757"/>
                  </a:solidFill>
                  <a:latin typeface="Trebuchet MS" panose="020B0603020202020204" pitchFamily="34" charset="0"/>
                </a:rPr>
                <a:t>3-3: Considerar posibles sustituciones</a:t>
              </a:r>
            </a:p>
          </p:txBody>
        </p:sp>
      </p:grpSp>
      <p:sp>
        <p:nvSpPr>
          <p:cNvPr id="20" name="Oval 20"/>
          <p:cNvSpPr>
            <a:spLocks noChangeAspect="1" noChangeArrowheads="1"/>
          </p:cNvSpPr>
          <p:nvPr/>
        </p:nvSpPr>
        <p:spPr bwMode="auto">
          <a:xfrm>
            <a:off x="6382048" y="4066175"/>
            <a:ext cx="284046" cy="274706"/>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4</a:t>
            </a:r>
          </a:p>
        </p:txBody>
      </p:sp>
      <p:grpSp>
        <p:nvGrpSpPr>
          <p:cNvPr id="8" name="Group 7"/>
          <p:cNvGrpSpPr/>
          <p:nvPr/>
        </p:nvGrpSpPr>
        <p:grpSpPr>
          <a:xfrm>
            <a:off x="6770123" y="4094920"/>
            <a:ext cx="3598243" cy="824921"/>
            <a:chOff x="7476921" y="4138789"/>
            <a:chExt cx="4619553" cy="824921"/>
          </a:xfrm>
        </p:grpSpPr>
        <p:sp>
          <p:nvSpPr>
            <p:cNvPr id="18" name="TextBox 17"/>
            <p:cNvSpPr txBox="1"/>
            <p:nvPr/>
          </p:nvSpPr>
          <p:spPr>
            <a:xfrm>
              <a:off x="7476921" y="4138789"/>
              <a:ext cx="4006975"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rPr>
                <a:t>Gestionar la flexibilidad de la plantilla</a:t>
              </a:r>
            </a:p>
          </p:txBody>
        </p:sp>
        <p:sp>
          <p:nvSpPr>
            <p:cNvPr id="48" name="TextBox 47"/>
            <p:cNvSpPr txBox="1"/>
            <p:nvPr/>
          </p:nvSpPr>
          <p:spPr>
            <a:xfrm>
              <a:off x="7476921" y="4348157"/>
              <a:ext cx="4619553"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lumMod val="100000"/>
                  </a:schemeClr>
                </a:buClr>
                <a:buSzPct val="100000"/>
              </a:pPr>
              <a:r>
                <a:rPr lang="es-ES" sz="1000" dirty="0">
                  <a:solidFill>
                    <a:srgbClr val="575757"/>
                  </a:solidFill>
                  <a:latin typeface="Trebuchet MS" panose="020B0603020202020204" pitchFamily="34" charset="0"/>
                </a:rPr>
                <a:t>4-1: Analizar el impacto del negocio en la plantilla</a:t>
              </a:r>
            </a:p>
            <a:p>
              <a:pPr marL="108000" lvl="1">
                <a:buClr>
                  <a:schemeClr val="tx2">
                    <a:lumMod val="100000"/>
                  </a:schemeClr>
                </a:buClr>
                <a:buSzPct val="100000"/>
              </a:pPr>
              <a:r>
                <a:rPr lang="es-ES" sz="1000" dirty="0">
                  <a:solidFill>
                    <a:srgbClr val="575757"/>
                  </a:solidFill>
                  <a:latin typeface="Trebuchet MS" panose="020B0603020202020204" pitchFamily="34" charset="0"/>
                </a:rPr>
                <a:t>4-2: Adaptar la plantilla a la disminución de la demanda</a:t>
              </a:r>
            </a:p>
            <a:p>
              <a:pPr marL="108000" lvl="1">
                <a:buClr>
                  <a:schemeClr val="tx2">
                    <a:lumMod val="100000"/>
                  </a:schemeClr>
                </a:buClr>
                <a:buSzPct val="100000"/>
              </a:pPr>
              <a:r>
                <a:rPr lang="es-ES" sz="1000" dirty="0">
                  <a:solidFill>
                    <a:srgbClr val="575757"/>
                  </a:solidFill>
                  <a:latin typeface="Trebuchet MS" panose="020B0603020202020204" pitchFamily="34" charset="0"/>
                </a:rPr>
                <a:t>4-3: Ajustar las contrataciones</a:t>
              </a:r>
            </a:p>
            <a:p>
              <a:pPr marL="108000" lvl="1">
                <a:buClr>
                  <a:schemeClr val="tx2">
                    <a:lumMod val="100000"/>
                  </a:schemeClr>
                </a:buClr>
                <a:buSzPct val="100000"/>
              </a:pPr>
              <a:r>
                <a:rPr lang="es-ES" sz="1000" dirty="0">
                  <a:solidFill>
                    <a:srgbClr val="575757"/>
                  </a:solidFill>
                  <a:latin typeface="Trebuchet MS" panose="020B0603020202020204" pitchFamily="34" charset="0"/>
                </a:rPr>
                <a:t>4-4: Gestionar el tiempo de inactividad de cada empleado</a:t>
              </a:r>
            </a:p>
          </p:txBody>
        </p:sp>
      </p:grpSp>
      <p:sp>
        <p:nvSpPr>
          <p:cNvPr id="23" name="Oval 20"/>
          <p:cNvSpPr>
            <a:spLocks noChangeAspect="1" noChangeArrowheads="1"/>
          </p:cNvSpPr>
          <p:nvPr/>
        </p:nvSpPr>
        <p:spPr bwMode="auto">
          <a:xfrm>
            <a:off x="6381728" y="4933502"/>
            <a:ext cx="274706" cy="274706"/>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5</a:t>
            </a:r>
          </a:p>
        </p:txBody>
      </p:sp>
      <p:grpSp>
        <p:nvGrpSpPr>
          <p:cNvPr id="9" name="Group 8"/>
          <p:cNvGrpSpPr/>
          <p:nvPr/>
        </p:nvGrpSpPr>
        <p:grpSpPr>
          <a:xfrm>
            <a:off x="6757043" y="4963114"/>
            <a:ext cx="3598244" cy="822755"/>
            <a:chOff x="7463840" y="5077093"/>
            <a:chExt cx="4467660" cy="822755"/>
          </a:xfrm>
        </p:grpSpPr>
        <p:sp>
          <p:nvSpPr>
            <p:cNvPr id="24" name="TextBox 23"/>
            <p:cNvSpPr txBox="1"/>
            <p:nvPr/>
          </p:nvSpPr>
          <p:spPr>
            <a:xfrm>
              <a:off x="7463840" y="5077093"/>
              <a:ext cx="4213720"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rPr>
                <a:t>Comunicarse con claridad y empatía</a:t>
              </a:r>
            </a:p>
          </p:txBody>
        </p:sp>
        <p:sp>
          <p:nvSpPr>
            <p:cNvPr id="51" name="TextBox 50"/>
            <p:cNvSpPr txBox="1"/>
            <p:nvPr/>
          </p:nvSpPr>
          <p:spPr>
            <a:xfrm>
              <a:off x="7463841" y="5284295"/>
              <a:ext cx="4467659"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spcAft>
                  <a:spcPts val="1200"/>
                </a:spcAft>
                <a:buClr>
                  <a:schemeClr val="tx2">
                    <a:lumMod val="100000"/>
                  </a:schemeClr>
                </a:buClr>
                <a:buSzPct val="100000"/>
              </a:pPr>
              <a:r>
                <a:rPr lang="es-ES" sz="1000" dirty="0">
                  <a:solidFill>
                    <a:srgbClr val="575757"/>
                  </a:solidFill>
                  <a:latin typeface="Trebuchet MS" panose="020B0603020202020204" pitchFamily="34" charset="0"/>
                </a:rPr>
                <a:t>5-1: Identificar canales de comunicación</a:t>
              </a:r>
              <a:br>
                <a:rPr lang="es-ES" sz="1000" dirty="0">
                  <a:solidFill>
                    <a:srgbClr val="575757"/>
                  </a:solidFill>
                  <a:latin typeface="Trebuchet MS" panose="020B0603020202020204" pitchFamily="34" charset="0"/>
                </a:rPr>
              </a:br>
              <a:r>
                <a:rPr lang="es-ES" sz="1000" dirty="0">
                  <a:solidFill>
                    <a:srgbClr val="575757"/>
                  </a:solidFill>
                  <a:latin typeface="Trebuchet MS" panose="020B0603020202020204" pitchFamily="34" charset="0"/>
                </a:rPr>
                <a:t>5-2: </a:t>
              </a:r>
              <a:r>
                <a:rPr lang="es-ES" sz="1000" dirty="0">
                  <a:solidFill>
                    <a:srgbClr val="575757"/>
                  </a:solidFill>
                </a:rPr>
                <a:t>Organizar una estructura de comunicación clara </a:t>
              </a:r>
              <a:r>
                <a:rPr lang="es-ES" sz="1000" dirty="0">
                  <a:solidFill>
                    <a:srgbClr val="575757"/>
                  </a:solidFill>
                  <a:latin typeface="Trebuchet MS" panose="020B0603020202020204" pitchFamily="34" charset="0"/>
                </a:rPr>
                <a:t/>
              </a:r>
              <a:br>
                <a:rPr lang="es-ES" sz="1000" dirty="0">
                  <a:solidFill>
                    <a:srgbClr val="575757"/>
                  </a:solidFill>
                  <a:latin typeface="Trebuchet MS" panose="020B0603020202020204" pitchFamily="34" charset="0"/>
                </a:rPr>
              </a:br>
              <a:r>
                <a:rPr lang="es-ES" sz="1000" dirty="0">
                  <a:solidFill>
                    <a:srgbClr val="575757"/>
                  </a:solidFill>
                  <a:latin typeface="Trebuchet MS" panose="020B0603020202020204" pitchFamily="34" charset="0"/>
                </a:rPr>
                <a:t>5-3: I</a:t>
              </a:r>
              <a:r>
                <a:rPr lang="es-ES" sz="1000" dirty="0">
                  <a:solidFill>
                    <a:srgbClr val="575757"/>
                  </a:solidFill>
                </a:rPr>
                <a:t>nformar a los empleados en el momento oportuno</a:t>
              </a:r>
              <a:br>
                <a:rPr lang="es-ES" sz="1000" dirty="0">
                  <a:solidFill>
                    <a:srgbClr val="575757"/>
                  </a:solidFill>
                </a:rPr>
              </a:br>
              <a:r>
                <a:rPr lang="es-ES" sz="1000" dirty="0">
                  <a:solidFill>
                    <a:srgbClr val="575757"/>
                  </a:solidFill>
                </a:rPr>
                <a:t>5-4: Formar a empleados y directivos sobre el COVID-19</a:t>
              </a:r>
            </a:p>
          </p:txBody>
        </p:sp>
      </p:grpSp>
      <p:sp>
        <p:nvSpPr>
          <p:cNvPr id="21" name="Oval 20"/>
          <p:cNvSpPr>
            <a:spLocks noChangeAspect="1" noChangeArrowheads="1"/>
          </p:cNvSpPr>
          <p:nvPr/>
        </p:nvSpPr>
        <p:spPr bwMode="auto">
          <a:xfrm>
            <a:off x="6381728" y="5829141"/>
            <a:ext cx="274706" cy="274706"/>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6</a:t>
            </a:r>
          </a:p>
        </p:txBody>
      </p:sp>
      <p:grpSp>
        <p:nvGrpSpPr>
          <p:cNvPr id="10" name="Group 9"/>
          <p:cNvGrpSpPr/>
          <p:nvPr/>
        </p:nvGrpSpPr>
        <p:grpSpPr>
          <a:xfrm>
            <a:off x="6757043" y="5829141"/>
            <a:ext cx="3598243" cy="827331"/>
            <a:chOff x="7463841" y="5985405"/>
            <a:chExt cx="4467659" cy="827331"/>
          </a:xfrm>
        </p:grpSpPr>
        <p:sp>
          <p:nvSpPr>
            <p:cNvPr id="22" name="TextBox 21"/>
            <p:cNvSpPr txBox="1"/>
            <p:nvPr/>
          </p:nvSpPr>
          <p:spPr>
            <a:xfrm>
              <a:off x="7463841" y="5985405"/>
              <a:ext cx="3875223"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sz="1400" dirty="0">
                  <a:solidFill>
                    <a:srgbClr val="575757"/>
                  </a:solidFill>
                </a:rPr>
                <a:t>Permanecer unidos</a:t>
              </a:r>
            </a:p>
          </p:txBody>
        </p:sp>
        <p:sp>
          <p:nvSpPr>
            <p:cNvPr id="52" name="TextBox 51"/>
            <p:cNvSpPr txBox="1"/>
            <p:nvPr/>
          </p:nvSpPr>
          <p:spPr>
            <a:xfrm>
              <a:off x="7463841" y="6197183"/>
              <a:ext cx="4467659"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lumMod val="100000"/>
                  </a:schemeClr>
                </a:buClr>
                <a:buSzPct val="100000"/>
              </a:pPr>
              <a:r>
                <a:rPr lang="es-ES" sz="1000" dirty="0">
                  <a:solidFill>
                    <a:srgbClr val="575757"/>
                  </a:solidFill>
                  <a:latin typeface="Trebuchet MS" panose="020B0603020202020204" pitchFamily="34" charset="0"/>
                </a:rPr>
                <a:t>6-1: Preparar a los líderes</a:t>
              </a:r>
            </a:p>
            <a:p>
              <a:pPr marL="108000" lvl="1">
                <a:buClr>
                  <a:schemeClr val="tx2">
                    <a:lumMod val="100000"/>
                  </a:schemeClr>
                </a:buClr>
                <a:buSzPct val="100000"/>
              </a:pPr>
              <a:r>
                <a:rPr lang="es-ES" sz="1000" dirty="0">
                  <a:solidFill>
                    <a:srgbClr val="575757"/>
                  </a:solidFill>
                  <a:latin typeface="Trebuchet MS" panose="020B0603020202020204" pitchFamily="34" charset="0"/>
                </a:rPr>
                <a:t>6-2: </a:t>
              </a:r>
              <a:r>
                <a:rPr lang="es-ES" sz="1000" dirty="0">
                  <a:solidFill>
                    <a:srgbClr val="575757"/>
                  </a:solidFill>
                </a:rPr>
                <a:t>Apoyar a los empleados y sus familias</a:t>
              </a:r>
            </a:p>
            <a:p>
              <a:pPr marL="108000" lvl="1">
                <a:buClr>
                  <a:schemeClr val="tx2">
                    <a:lumMod val="100000"/>
                  </a:schemeClr>
                </a:buClr>
                <a:buSzPct val="100000"/>
              </a:pPr>
              <a:r>
                <a:rPr lang="es-ES" sz="1000" dirty="0">
                  <a:solidFill>
                    <a:srgbClr val="575757"/>
                  </a:solidFill>
                  <a:latin typeface="Trebuchet MS" panose="020B0603020202020204" pitchFamily="34" charset="0"/>
                </a:rPr>
                <a:t>6-3: Construir y mejorar los ecosistemas</a:t>
              </a:r>
            </a:p>
            <a:p>
              <a:pPr marL="108000" lvl="1">
                <a:buClr>
                  <a:schemeClr val="tx2">
                    <a:lumMod val="100000"/>
                  </a:schemeClr>
                </a:buClr>
                <a:buSzPct val="100000"/>
              </a:pPr>
              <a:r>
                <a:rPr lang="es-ES" sz="1000" dirty="0">
                  <a:solidFill>
                    <a:srgbClr val="575757"/>
                  </a:solidFill>
                  <a:latin typeface="Trebuchet MS" panose="020B0603020202020204" pitchFamily="34" charset="0"/>
                </a:rPr>
                <a:t>6-4: </a:t>
              </a:r>
              <a:r>
                <a:rPr lang="es-ES" sz="1000" dirty="0">
                  <a:solidFill>
                    <a:srgbClr val="575757"/>
                  </a:solidFill>
                </a:rPr>
                <a:t>Colaborar con un propósito mayor</a:t>
              </a:r>
              <a:endParaRPr lang="es-ES" sz="1000" dirty="0">
                <a:solidFill>
                  <a:srgbClr val="575757"/>
                </a:solidFill>
                <a:latin typeface="Trebuchet MS" panose="020B0603020202020204" pitchFamily="34" charset="0"/>
              </a:endParaRPr>
            </a:p>
          </p:txBody>
        </p:sp>
      </p:grpSp>
      <p:pic>
        <p:nvPicPr>
          <p:cNvPr id="141" name="Picture 10" descr="Bildergebnis für covid19"/>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09332" y="2036321"/>
            <a:ext cx="3966454" cy="3966455"/>
          </a:xfrm>
          <a:prstGeom prst="ellipse">
            <a:avLst/>
          </a:prstGeom>
          <a:grpFill/>
          <a:ln w="38100">
            <a:noFill/>
          </a:ln>
          <a:extLst>
            <a:ext uri="{91240B29-F687-4F45-9708-019B960494DF}">
              <a14:hiddenLine xmlns:a14="http://schemas.microsoft.com/office/drawing/2010/main" w="38100">
                <a:gradFill flip="none" rotWithShape="1">
                  <a:gsLst>
                    <a:gs pos="0">
                      <a:schemeClr val="accent2"/>
                    </a:gs>
                    <a:gs pos="100000">
                      <a:schemeClr val="tx2"/>
                    </a:gs>
                  </a:gsLst>
                  <a:lin ang="2700000" scaled="1"/>
                  <a:tileRect/>
                </a:gradFill>
              </a14:hiddenLine>
            </a:ext>
          </a:extLst>
        </p:spPr>
      </p:pic>
      <p:sp>
        <p:nvSpPr>
          <p:cNvPr id="142" name="Oval 141"/>
          <p:cNvSpPr>
            <a:spLocks noChangeAspect="1"/>
          </p:cNvSpPr>
          <p:nvPr/>
        </p:nvSpPr>
        <p:spPr>
          <a:xfrm>
            <a:off x="485624" y="2027824"/>
            <a:ext cx="3991976" cy="3991976"/>
          </a:xfrm>
          <a:prstGeom prst="ellipse">
            <a:avLst/>
          </a:prstGeom>
          <a:solidFill>
            <a:schemeClr val="bg2">
              <a:lumMod val="10000"/>
              <a:alpha val="31000"/>
            </a:schemeClr>
          </a:solidFill>
          <a:ln w="76200">
            <a:gradFill flip="none" rotWithShape="1">
              <a:gsLst>
                <a:gs pos="0">
                  <a:schemeClr val="accent1"/>
                </a:gs>
                <a:gs pos="100000">
                  <a:schemeClr val="accent4"/>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sp>
        <p:nvSpPr>
          <p:cNvPr id="144" name="Oval 143"/>
          <p:cNvSpPr>
            <a:spLocks noChangeAspect="1"/>
          </p:cNvSpPr>
          <p:nvPr/>
        </p:nvSpPr>
        <p:spPr>
          <a:xfrm>
            <a:off x="1094400" y="2636600"/>
            <a:ext cx="2774423" cy="2774423"/>
          </a:xfrm>
          <a:prstGeom prst="ellipse">
            <a:avLst/>
          </a:prstGeom>
          <a:grpFill/>
          <a:ln w="76200">
            <a:gradFill flip="none" rotWithShape="1">
              <a:gsLst>
                <a:gs pos="0">
                  <a:schemeClr val="accent2"/>
                </a:gs>
                <a:gs pos="100000">
                  <a:schemeClr val="tx2"/>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sp>
        <p:nvSpPr>
          <p:cNvPr id="145" name="Oval 144"/>
          <p:cNvSpPr>
            <a:spLocks noChangeAspect="1"/>
          </p:cNvSpPr>
          <p:nvPr/>
        </p:nvSpPr>
        <p:spPr>
          <a:xfrm>
            <a:off x="1703177" y="3245377"/>
            <a:ext cx="1556871" cy="1556871"/>
          </a:xfrm>
          <a:prstGeom prst="ellipse">
            <a:avLst/>
          </a:prstGeom>
          <a:grpFill/>
          <a:ln w="76200">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s-ES" kern="0" dirty="0">
              <a:solidFill>
                <a:schemeClr val="bg1">
                  <a:lumMod val="50000"/>
                </a:schemeClr>
              </a:solidFill>
            </a:endParaRPr>
          </a:p>
        </p:txBody>
      </p:sp>
      <p:cxnSp>
        <p:nvCxnSpPr>
          <p:cNvPr id="146" name="Elbow Connector 145"/>
          <p:cNvCxnSpPr/>
          <p:nvPr/>
        </p:nvCxnSpPr>
        <p:spPr>
          <a:xfrm rot="10800000" flipV="1">
            <a:off x="2481618" y="2372012"/>
            <a:ext cx="3629671" cy="873363"/>
          </a:xfrm>
          <a:prstGeom prst="bentConnector3">
            <a:avLst>
              <a:gd name="adj1" fmla="val 100122"/>
            </a:avLst>
          </a:prstGeom>
          <a:ln w="19050" cap="rnd" cmpd="sng" algn="ctr">
            <a:solidFill>
              <a:srgbClr val="6E6F73"/>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3392574" y="5844646"/>
            <a:ext cx="2718715" cy="0"/>
          </a:xfrm>
          <a:prstGeom prst="line">
            <a:avLst/>
          </a:prstGeom>
          <a:ln w="19050" cap="rnd" cmpd="sng" algn="ctr">
            <a:solidFill>
              <a:srgbClr val="6E6F73"/>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3894224" y="4069751"/>
            <a:ext cx="2217065" cy="0"/>
          </a:xfrm>
          <a:prstGeom prst="line">
            <a:avLst/>
          </a:prstGeom>
          <a:ln w="19050" cap="rnd" cmpd="sng" algn="ctr">
            <a:solidFill>
              <a:srgbClr val="6E6F73"/>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56" name="AutoShape 13">
            <a:extLst>
              <a:ext uri="{FF2B5EF4-FFF2-40B4-BE49-F238E27FC236}">
                <a16:creationId xmlns="" xmlns:a16="http://schemas.microsoft.com/office/drawing/2014/main" id="{29016D3E-1273-434F-90D5-5078F0FBBC01}"/>
              </a:ext>
            </a:extLst>
          </p:cNvPr>
          <p:cNvSpPr>
            <a:spLocks noChangeAspect="1" noChangeArrowheads="1" noTextEdit="1"/>
          </p:cNvSpPr>
          <p:nvPr/>
        </p:nvSpPr>
        <p:spPr bwMode="auto">
          <a:xfrm>
            <a:off x="5369027" y="3276600"/>
            <a:ext cx="742262"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61" name="AutoShape 80"/>
          <p:cNvSpPr>
            <a:spLocks noChangeAspect="1" noChangeArrowheads="1" noTextEdit="1"/>
          </p:cNvSpPr>
          <p:nvPr/>
        </p:nvSpPr>
        <p:spPr bwMode="auto">
          <a:xfrm>
            <a:off x="5368339" y="1622425"/>
            <a:ext cx="742263"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66" name="Oval 165"/>
          <p:cNvSpPr>
            <a:spLocks noChangeAspect="1"/>
          </p:cNvSpPr>
          <p:nvPr/>
        </p:nvSpPr>
        <p:spPr>
          <a:xfrm>
            <a:off x="1703177" y="3241114"/>
            <a:ext cx="1556871" cy="1556871"/>
          </a:xfrm>
          <a:prstGeom prst="ellipse">
            <a:avLst/>
          </a:prstGeom>
          <a:solidFill>
            <a:schemeClr val="bg2">
              <a:lumMod val="10000"/>
              <a:alpha val="49000"/>
            </a:schemeClr>
          </a:solidFill>
          <a:ln w="76200">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s-ES" sz="1700" kern="0" dirty="0">
                <a:solidFill>
                  <a:srgbClr val="FFFFFF"/>
                </a:solidFill>
              </a:rPr>
              <a:t>Respuestas clave en gestión de personas</a:t>
            </a:r>
          </a:p>
        </p:txBody>
      </p:sp>
      <p:sp>
        <p:nvSpPr>
          <p:cNvPr id="59" name="Oval 20"/>
          <p:cNvSpPr>
            <a:spLocks noChangeAspect="1" noChangeArrowheads="1"/>
          </p:cNvSpPr>
          <p:nvPr/>
        </p:nvSpPr>
        <p:spPr bwMode="auto">
          <a:xfrm>
            <a:off x="10307867" y="2985311"/>
            <a:ext cx="274706" cy="274706"/>
          </a:xfrm>
          <a:prstGeom prst="ellipse">
            <a:avLst/>
          </a:prstGeom>
          <a:solidFill>
            <a:srgbClr val="197A56"/>
          </a:solidFill>
          <a:ln>
            <a:noFill/>
          </a:ln>
        </p:spPr>
        <p:txBody>
          <a:bodyPr vert="horz" wrap="square" lIns="0" tIns="0" rIns="0" bIns="0" numCol="1" anchor="ctr" anchorCtr="0" compatLnSpc="1">
            <a:prstTxWarp prst="textNoShape">
              <a:avLst/>
            </a:prstTxWarp>
          </a:bodyPr>
          <a:lstStyle/>
          <a:p>
            <a:pPr algn="ctr"/>
            <a:r>
              <a:rPr lang="es-ES" sz="1300" dirty="0">
                <a:solidFill>
                  <a:schemeClr val="bg1"/>
                </a:solidFill>
              </a:rPr>
              <a:t>7</a:t>
            </a:r>
          </a:p>
        </p:txBody>
      </p:sp>
      <p:sp>
        <p:nvSpPr>
          <p:cNvPr id="60" name="TextBox 59"/>
          <p:cNvSpPr txBox="1"/>
          <p:nvPr/>
        </p:nvSpPr>
        <p:spPr>
          <a:xfrm>
            <a:off x="10692692" y="2907220"/>
            <a:ext cx="1087416" cy="430887"/>
          </a:xfrm>
          <a:prstGeom prst="rect">
            <a:avLst/>
          </a:prstGeom>
          <a:solidFill>
            <a:srgbClr val="F2F2F2"/>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sz="1400">
                <a:solidFill>
                  <a:srgbClr val="575757"/>
                </a:solidFill>
              </a:defRPr>
            </a:lvl1pPr>
          </a:lstStyle>
          <a:p>
            <a:r>
              <a:rPr lang="es-ES" dirty="0"/>
              <a:t>Acelerar la digitalización</a:t>
            </a:r>
          </a:p>
        </p:txBody>
      </p:sp>
      <p:sp>
        <p:nvSpPr>
          <p:cNvPr id="64" name="TextBox 63"/>
          <p:cNvSpPr txBox="1"/>
          <p:nvPr/>
        </p:nvSpPr>
        <p:spPr>
          <a:xfrm>
            <a:off x="5273003" y="5920940"/>
            <a:ext cx="843180" cy="307777"/>
          </a:xfrm>
          <a:prstGeom prst="rect">
            <a:avLst/>
          </a:prstGeom>
          <a:solidFill>
            <a:srgbClr val="F2F2F2"/>
          </a:solidFill>
        </p:spPr>
        <p:txBody>
          <a:bodyPr wrap="none" lIns="0" tIns="0" rIns="0" bIns="0" rtlCol="0" anchor="ctr" anchorCtr="0">
            <a:spAutoFit/>
          </a:bodyPr>
          <a:lstStyle/>
          <a:p>
            <a:pPr algn="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Cultura</a:t>
            </a:r>
          </a:p>
        </p:txBody>
      </p:sp>
      <p:sp>
        <p:nvSpPr>
          <p:cNvPr id="65" name="TextBox 64"/>
          <p:cNvSpPr txBox="1"/>
          <p:nvPr/>
        </p:nvSpPr>
        <p:spPr>
          <a:xfrm>
            <a:off x="5163999" y="4146642"/>
            <a:ext cx="952184" cy="307777"/>
          </a:xfrm>
          <a:prstGeom prst="rect">
            <a:avLst/>
          </a:prstGeom>
          <a:solidFill>
            <a:srgbClr val="F2F2F2"/>
          </a:solidFill>
        </p:spPr>
        <p:txBody>
          <a:bodyPr wrap="none" lIns="0" tIns="0" rIns="0" bIns="0" rtlCol="0" anchor="ctr" anchorCtr="0">
            <a:spAutoFit/>
          </a:bodyPr>
          <a:lstStyle/>
          <a:p>
            <a:pPr algn="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Plantilla</a:t>
            </a:r>
          </a:p>
        </p:txBody>
      </p:sp>
      <p:sp>
        <p:nvSpPr>
          <p:cNvPr id="66" name="TextBox 65"/>
          <p:cNvSpPr txBox="1"/>
          <p:nvPr/>
        </p:nvSpPr>
        <p:spPr>
          <a:xfrm>
            <a:off x="5442397" y="2424101"/>
            <a:ext cx="615553" cy="307777"/>
          </a:xfrm>
          <a:prstGeom prst="rect">
            <a:avLst/>
          </a:prstGeom>
          <a:noFill/>
          <a:extLst>
            <a:ext uri="{909E8E84-426E-40DD-AFC4-6F175D3DCCD1}">
              <a14:hiddenFill xmlns:a14="http://schemas.microsoft.com/office/drawing/2010/main">
                <a:solidFill>
                  <a:srgbClr val="F2F2F2"/>
                </a:solidFill>
              </a14:hiddenFill>
            </a:ext>
          </a:extLst>
        </p:spPr>
        <p:txBody>
          <a:bodyPr wrap="none" lIns="0" tIns="0" rIns="0" bIns="0" rtlCol="0" anchor="ctr" anchorCtr="0">
            <a:spAutoFit/>
          </a:bodyPr>
          <a:lstStyle/>
          <a:p>
            <a:pPr>
              <a:buSzPct val="100000"/>
              <a:buFont typeface="Trebuchet MS" panose="020B0603020202020204" pitchFamily="34" charset="0"/>
              <a:buChar char="​"/>
            </a:pPr>
            <a:r>
              <a:rPr lang="es-ES" sz="2000" dirty="0">
                <a:solidFill>
                  <a:srgbClr val="575757"/>
                </a:solidFill>
                <a:latin typeface="Trebuchet MS" panose="020B0603020202020204" pitchFamily="34" charset="0"/>
                <a:cs typeface="Arial" panose="020B0604020202020204" pitchFamily="34" charset="0"/>
              </a:rPr>
              <a:t>Salud</a:t>
            </a:r>
          </a:p>
        </p:txBody>
      </p:sp>
      <p:sp>
        <p:nvSpPr>
          <p:cNvPr id="61" name="AutoShape 18">
            <a:extLst>
              <a:ext uri="{FF2B5EF4-FFF2-40B4-BE49-F238E27FC236}">
                <a16:creationId xmlns="" xmlns:a16="http://schemas.microsoft.com/office/drawing/2014/main" id="{100AC5BD-F30F-4F9C-94F8-3ECEAAF56365}"/>
              </a:ext>
            </a:extLst>
          </p:cNvPr>
          <p:cNvSpPr>
            <a:spLocks noChangeAspect="1" noChangeArrowheads="1" noTextEdit="1"/>
          </p:cNvSpPr>
          <p:nvPr/>
        </p:nvSpPr>
        <p:spPr bwMode="auto">
          <a:xfrm>
            <a:off x="5373921" y="5134610"/>
            <a:ext cx="742262"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63" name="Group 62"/>
          <p:cNvGrpSpPr>
            <a:grpSpLocks noChangeAspect="1"/>
          </p:cNvGrpSpPr>
          <p:nvPr/>
        </p:nvGrpSpPr>
        <p:grpSpPr>
          <a:xfrm>
            <a:off x="5373921" y="3276600"/>
            <a:ext cx="742262" cy="742950"/>
            <a:chOff x="5273803" y="2606040"/>
            <a:chExt cx="1644396" cy="1645920"/>
          </a:xfrm>
        </p:grpSpPr>
        <p:sp>
          <p:nvSpPr>
            <p:cNvPr id="67" name="AutoShape 13">
              <a:extLst>
                <a:ext uri="{FF2B5EF4-FFF2-40B4-BE49-F238E27FC236}">
                  <a16:creationId xmlns="" xmlns:a16="http://schemas.microsoft.com/office/drawing/2014/main" id="{29016D3E-1273-434F-90D5-5078F0FBBC01}"/>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68" name="Group 67"/>
            <p:cNvGrpSpPr/>
            <p:nvPr/>
          </p:nvGrpSpPr>
          <p:grpSpPr>
            <a:xfrm>
              <a:off x="5478781" y="2773299"/>
              <a:ext cx="1233297" cy="1272159"/>
              <a:chOff x="5478781" y="2773299"/>
              <a:chExt cx="1233297" cy="1272159"/>
            </a:xfrm>
          </p:grpSpPr>
          <p:sp>
            <p:nvSpPr>
              <p:cNvPr id="69" name="Freeform 68">
                <a:extLst>
                  <a:ext uri="{FF2B5EF4-FFF2-40B4-BE49-F238E27FC236}">
                    <a16:creationId xmlns="" xmlns:a16="http://schemas.microsoft.com/office/drawing/2014/main" id="{AE388F92-54E0-4BC0-9CBC-2CF2AB0B27C8}"/>
                  </a:ext>
                </a:extLst>
              </p:cNvPr>
              <p:cNvSpPr>
                <a:spLocks noEditPoints="1"/>
              </p:cNvSpPr>
              <p:nvPr/>
            </p:nvSpPr>
            <p:spPr bwMode="auto">
              <a:xfrm>
                <a:off x="5541265" y="2773299"/>
                <a:ext cx="1107948" cy="1209294"/>
              </a:xfrm>
              <a:custGeom>
                <a:avLst/>
                <a:gdLst>
                  <a:gd name="T0" fmla="*/ 1072 w 1552"/>
                  <a:gd name="T1" fmla="*/ 421 h 1693"/>
                  <a:gd name="T2" fmla="*/ 1072 w 1552"/>
                  <a:gd name="T3" fmla="*/ 420 h 1693"/>
                  <a:gd name="T4" fmla="*/ 1037 w 1552"/>
                  <a:gd name="T5" fmla="*/ 469 h 1693"/>
                  <a:gd name="T6" fmla="*/ 1014 w 1552"/>
                  <a:gd name="T7" fmla="*/ 469 h 1693"/>
                  <a:gd name="T8" fmla="*/ 1011 w 1552"/>
                  <a:gd name="T9" fmla="*/ 238 h 1693"/>
                  <a:gd name="T10" fmla="*/ 608 w 1552"/>
                  <a:gd name="T11" fmla="*/ 252 h 1693"/>
                  <a:gd name="T12" fmla="*/ 532 w 1552"/>
                  <a:gd name="T13" fmla="*/ 465 h 1693"/>
                  <a:gd name="T14" fmla="*/ 512 w 1552"/>
                  <a:gd name="T15" fmla="*/ 463 h 1693"/>
                  <a:gd name="T16" fmla="*/ 481 w 1552"/>
                  <a:gd name="T17" fmla="*/ 424 h 1693"/>
                  <a:gd name="T18" fmla="*/ 481 w 1552"/>
                  <a:gd name="T19" fmla="*/ 424 h 1693"/>
                  <a:gd name="T20" fmla="*/ 469 w 1552"/>
                  <a:gd name="T21" fmla="*/ 314 h 1693"/>
                  <a:gd name="T22" fmla="*/ 776 w 1552"/>
                  <a:gd name="T23" fmla="*/ 0 h 1693"/>
                  <a:gd name="T24" fmla="*/ 1083 w 1552"/>
                  <a:gd name="T25" fmla="*/ 314 h 1693"/>
                  <a:gd name="T26" fmla="*/ 1072 w 1552"/>
                  <a:gd name="T27" fmla="*/ 421 h 1693"/>
                  <a:gd name="T28" fmla="*/ 848 w 1552"/>
                  <a:gd name="T29" fmla="*/ 1124 h 1693"/>
                  <a:gd name="T30" fmla="*/ 803 w 1552"/>
                  <a:gd name="T31" fmla="*/ 992 h 1693"/>
                  <a:gd name="T32" fmla="*/ 803 w 1552"/>
                  <a:gd name="T33" fmla="*/ 987 h 1693"/>
                  <a:gd name="T34" fmla="*/ 845 w 1552"/>
                  <a:gd name="T35" fmla="*/ 921 h 1693"/>
                  <a:gd name="T36" fmla="*/ 841 w 1552"/>
                  <a:gd name="T37" fmla="*/ 912 h 1693"/>
                  <a:gd name="T38" fmla="*/ 778 w 1552"/>
                  <a:gd name="T39" fmla="*/ 903 h 1693"/>
                  <a:gd name="T40" fmla="*/ 712 w 1552"/>
                  <a:gd name="T41" fmla="*/ 912 h 1693"/>
                  <a:gd name="T42" fmla="*/ 708 w 1552"/>
                  <a:gd name="T43" fmla="*/ 922 h 1693"/>
                  <a:gd name="T44" fmla="*/ 749 w 1552"/>
                  <a:gd name="T45" fmla="*/ 987 h 1693"/>
                  <a:gd name="T46" fmla="*/ 750 w 1552"/>
                  <a:gd name="T47" fmla="*/ 992 h 1693"/>
                  <a:gd name="T48" fmla="*/ 701 w 1552"/>
                  <a:gd name="T49" fmla="*/ 1124 h 1693"/>
                  <a:gd name="T50" fmla="*/ 707 w 1552"/>
                  <a:gd name="T51" fmla="*/ 1132 h 1693"/>
                  <a:gd name="T52" fmla="*/ 841 w 1552"/>
                  <a:gd name="T53" fmla="*/ 1132 h 1693"/>
                  <a:gd name="T54" fmla="*/ 848 w 1552"/>
                  <a:gd name="T55" fmla="*/ 1124 h 1693"/>
                  <a:gd name="T56" fmla="*/ 636 w 1552"/>
                  <a:gd name="T57" fmla="*/ 1693 h 1693"/>
                  <a:gd name="T58" fmla="*/ 911 w 1552"/>
                  <a:gd name="T59" fmla="*/ 1693 h 1693"/>
                  <a:gd name="T60" fmla="*/ 921 w 1552"/>
                  <a:gd name="T61" fmla="*/ 1683 h 1693"/>
                  <a:gd name="T62" fmla="*/ 921 w 1552"/>
                  <a:gd name="T63" fmla="*/ 1580 h 1693"/>
                  <a:gd name="T64" fmla="*/ 911 w 1552"/>
                  <a:gd name="T65" fmla="*/ 1570 h 1693"/>
                  <a:gd name="T66" fmla="*/ 636 w 1552"/>
                  <a:gd name="T67" fmla="*/ 1570 h 1693"/>
                  <a:gd name="T68" fmla="*/ 626 w 1552"/>
                  <a:gd name="T69" fmla="*/ 1580 h 1693"/>
                  <a:gd name="T70" fmla="*/ 626 w 1552"/>
                  <a:gd name="T71" fmla="*/ 1683 h 1693"/>
                  <a:gd name="T72" fmla="*/ 636 w 1552"/>
                  <a:gd name="T73" fmla="*/ 1693 h 1693"/>
                  <a:gd name="T74" fmla="*/ 1267 w 1552"/>
                  <a:gd name="T75" fmla="*/ 1693 h 1693"/>
                  <a:gd name="T76" fmla="*/ 1542 w 1552"/>
                  <a:gd name="T77" fmla="*/ 1693 h 1693"/>
                  <a:gd name="T78" fmla="*/ 1552 w 1552"/>
                  <a:gd name="T79" fmla="*/ 1683 h 1693"/>
                  <a:gd name="T80" fmla="*/ 1552 w 1552"/>
                  <a:gd name="T81" fmla="*/ 1580 h 1693"/>
                  <a:gd name="T82" fmla="*/ 1542 w 1552"/>
                  <a:gd name="T83" fmla="*/ 1570 h 1693"/>
                  <a:gd name="T84" fmla="*/ 1267 w 1552"/>
                  <a:gd name="T85" fmla="*/ 1570 h 1693"/>
                  <a:gd name="T86" fmla="*/ 1257 w 1552"/>
                  <a:gd name="T87" fmla="*/ 1580 h 1693"/>
                  <a:gd name="T88" fmla="*/ 1257 w 1552"/>
                  <a:gd name="T89" fmla="*/ 1683 h 1693"/>
                  <a:gd name="T90" fmla="*/ 1267 w 1552"/>
                  <a:gd name="T91" fmla="*/ 1693 h 1693"/>
                  <a:gd name="T92" fmla="*/ 10 w 1552"/>
                  <a:gd name="T93" fmla="*/ 1693 h 1693"/>
                  <a:gd name="T94" fmla="*/ 285 w 1552"/>
                  <a:gd name="T95" fmla="*/ 1693 h 1693"/>
                  <a:gd name="T96" fmla="*/ 295 w 1552"/>
                  <a:gd name="T97" fmla="*/ 1683 h 1693"/>
                  <a:gd name="T98" fmla="*/ 295 w 1552"/>
                  <a:gd name="T99" fmla="*/ 1580 h 1693"/>
                  <a:gd name="T100" fmla="*/ 285 w 1552"/>
                  <a:gd name="T101" fmla="*/ 1570 h 1693"/>
                  <a:gd name="T102" fmla="*/ 10 w 1552"/>
                  <a:gd name="T103" fmla="*/ 1570 h 1693"/>
                  <a:gd name="T104" fmla="*/ 0 w 1552"/>
                  <a:gd name="T105" fmla="*/ 1580 h 1693"/>
                  <a:gd name="T106" fmla="*/ 0 w 1552"/>
                  <a:gd name="T107" fmla="*/ 1683 h 1693"/>
                  <a:gd name="T108" fmla="*/ 10 w 1552"/>
                  <a:gd name="T109" fmla="*/ 1693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2" h="1693">
                    <a:moveTo>
                      <a:pt x="1072" y="421"/>
                    </a:moveTo>
                    <a:cubicBezTo>
                      <a:pt x="1072" y="420"/>
                      <a:pt x="1072" y="420"/>
                      <a:pt x="1072" y="420"/>
                    </a:cubicBezTo>
                    <a:cubicBezTo>
                      <a:pt x="1071" y="420"/>
                      <a:pt x="1066" y="436"/>
                      <a:pt x="1037" y="469"/>
                    </a:cubicBezTo>
                    <a:cubicBezTo>
                      <a:pt x="1037" y="469"/>
                      <a:pt x="1037" y="469"/>
                      <a:pt x="1014" y="469"/>
                    </a:cubicBezTo>
                    <a:cubicBezTo>
                      <a:pt x="1014" y="469"/>
                      <a:pt x="1014" y="458"/>
                      <a:pt x="1011" y="238"/>
                    </a:cubicBezTo>
                    <a:cubicBezTo>
                      <a:pt x="977" y="414"/>
                      <a:pt x="608" y="252"/>
                      <a:pt x="608" y="252"/>
                    </a:cubicBezTo>
                    <a:cubicBezTo>
                      <a:pt x="516" y="280"/>
                      <a:pt x="532" y="465"/>
                      <a:pt x="532" y="465"/>
                    </a:cubicBezTo>
                    <a:cubicBezTo>
                      <a:pt x="532" y="465"/>
                      <a:pt x="532" y="465"/>
                      <a:pt x="512" y="463"/>
                    </a:cubicBezTo>
                    <a:cubicBezTo>
                      <a:pt x="512" y="463"/>
                      <a:pt x="512" y="452"/>
                      <a:pt x="481" y="424"/>
                    </a:cubicBezTo>
                    <a:cubicBezTo>
                      <a:pt x="481" y="424"/>
                      <a:pt x="481" y="424"/>
                      <a:pt x="481" y="424"/>
                    </a:cubicBezTo>
                    <a:cubicBezTo>
                      <a:pt x="469" y="390"/>
                      <a:pt x="469" y="353"/>
                      <a:pt x="469" y="314"/>
                    </a:cubicBezTo>
                    <a:cubicBezTo>
                      <a:pt x="469" y="140"/>
                      <a:pt x="602" y="0"/>
                      <a:pt x="776" y="0"/>
                    </a:cubicBezTo>
                    <a:cubicBezTo>
                      <a:pt x="950" y="0"/>
                      <a:pt x="1083" y="140"/>
                      <a:pt x="1083" y="314"/>
                    </a:cubicBezTo>
                    <a:cubicBezTo>
                      <a:pt x="1083" y="351"/>
                      <a:pt x="1084" y="387"/>
                      <a:pt x="1072" y="421"/>
                    </a:cubicBezTo>
                    <a:close/>
                    <a:moveTo>
                      <a:pt x="848" y="1124"/>
                    </a:moveTo>
                    <a:cubicBezTo>
                      <a:pt x="803" y="992"/>
                      <a:pt x="803" y="992"/>
                      <a:pt x="803" y="992"/>
                    </a:cubicBezTo>
                    <a:cubicBezTo>
                      <a:pt x="802" y="990"/>
                      <a:pt x="802" y="988"/>
                      <a:pt x="803" y="987"/>
                    </a:cubicBezTo>
                    <a:cubicBezTo>
                      <a:pt x="845" y="921"/>
                      <a:pt x="845" y="921"/>
                      <a:pt x="845" y="921"/>
                    </a:cubicBezTo>
                    <a:cubicBezTo>
                      <a:pt x="847" y="918"/>
                      <a:pt x="845" y="913"/>
                      <a:pt x="841" y="912"/>
                    </a:cubicBezTo>
                    <a:cubicBezTo>
                      <a:pt x="827" y="909"/>
                      <a:pt x="800" y="903"/>
                      <a:pt x="778" y="903"/>
                    </a:cubicBezTo>
                    <a:cubicBezTo>
                      <a:pt x="756" y="903"/>
                      <a:pt x="726" y="909"/>
                      <a:pt x="712" y="912"/>
                    </a:cubicBezTo>
                    <a:cubicBezTo>
                      <a:pt x="707" y="913"/>
                      <a:pt x="705" y="918"/>
                      <a:pt x="708" y="922"/>
                    </a:cubicBezTo>
                    <a:cubicBezTo>
                      <a:pt x="749" y="987"/>
                      <a:pt x="749" y="987"/>
                      <a:pt x="749" y="987"/>
                    </a:cubicBezTo>
                    <a:cubicBezTo>
                      <a:pt x="750" y="989"/>
                      <a:pt x="750" y="991"/>
                      <a:pt x="750" y="992"/>
                    </a:cubicBezTo>
                    <a:cubicBezTo>
                      <a:pt x="701" y="1124"/>
                      <a:pt x="701" y="1124"/>
                      <a:pt x="701" y="1124"/>
                    </a:cubicBezTo>
                    <a:cubicBezTo>
                      <a:pt x="700" y="1128"/>
                      <a:pt x="703" y="1132"/>
                      <a:pt x="707" y="1132"/>
                    </a:cubicBezTo>
                    <a:cubicBezTo>
                      <a:pt x="841" y="1132"/>
                      <a:pt x="841" y="1132"/>
                      <a:pt x="841" y="1132"/>
                    </a:cubicBezTo>
                    <a:cubicBezTo>
                      <a:pt x="846" y="1132"/>
                      <a:pt x="849" y="1128"/>
                      <a:pt x="848" y="1124"/>
                    </a:cubicBezTo>
                    <a:close/>
                    <a:moveTo>
                      <a:pt x="636" y="1693"/>
                    </a:moveTo>
                    <a:cubicBezTo>
                      <a:pt x="911" y="1693"/>
                      <a:pt x="911" y="1693"/>
                      <a:pt x="911" y="1693"/>
                    </a:cubicBezTo>
                    <a:cubicBezTo>
                      <a:pt x="917" y="1693"/>
                      <a:pt x="921" y="1689"/>
                      <a:pt x="921" y="1683"/>
                    </a:cubicBezTo>
                    <a:cubicBezTo>
                      <a:pt x="921" y="1580"/>
                      <a:pt x="921" y="1580"/>
                      <a:pt x="921" y="1580"/>
                    </a:cubicBezTo>
                    <a:cubicBezTo>
                      <a:pt x="921" y="1575"/>
                      <a:pt x="917" y="1570"/>
                      <a:pt x="911" y="1570"/>
                    </a:cubicBezTo>
                    <a:cubicBezTo>
                      <a:pt x="636" y="1570"/>
                      <a:pt x="636" y="1570"/>
                      <a:pt x="636" y="1570"/>
                    </a:cubicBezTo>
                    <a:cubicBezTo>
                      <a:pt x="630" y="1570"/>
                      <a:pt x="626" y="1575"/>
                      <a:pt x="626" y="1580"/>
                    </a:cubicBezTo>
                    <a:cubicBezTo>
                      <a:pt x="626" y="1683"/>
                      <a:pt x="626" y="1683"/>
                      <a:pt x="626" y="1683"/>
                    </a:cubicBezTo>
                    <a:cubicBezTo>
                      <a:pt x="626" y="1689"/>
                      <a:pt x="630" y="1693"/>
                      <a:pt x="636" y="1693"/>
                    </a:cubicBezTo>
                    <a:close/>
                    <a:moveTo>
                      <a:pt x="1267" y="1693"/>
                    </a:moveTo>
                    <a:cubicBezTo>
                      <a:pt x="1542" y="1693"/>
                      <a:pt x="1542" y="1693"/>
                      <a:pt x="1542" y="1693"/>
                    </a:cubicBezTo>
                    <a:cubicBezTo>
                      <a:pt x="1548" y="1693"/>
                      <a:pt x="1552" y="1689"/>
                      <a:pt x="1552" y="1683"/>
                    </a:cubicBezTo>
                    <a:cubicBezTo>
                      <a:pt x="1552" y="1580"/>
                      <a:pt x="1552" y="1580"/>
                      <a:pt x="1552" y="1580"/>
                    </a:cubicBezTo>
                    <a:cubicBezTo>
                      <a:pt x="1552" y="1575"/>
                      <a:pt x="1548" y="1570"/>
                      <a:pt x="1542" y="1570"/>
                    </a:cubicBezTo>
                    <a:cubicBezTo>
                      <a:pt x="1267" y="1570"/>
                      <a:pt x="1267" y="1570"/>
                      <a:pt x="1267" y="1570"/>
                    </a:cubicBezTo>
                    <a:cubicBezTo>
                      <a:pt x="1261" y="1570"/>
                      <a:pt x="1257" y="1575"/>
                      <a:pt x="1257" y="1580"/>
                    </a:cubicBezTo>
                    <a:cubicBezTo>
                      <a:pt x="1257" y="1683"/>
                      <a:pt x="1257" y="1683"/>
                      <a:pt x="1257" y="1683"/>
                    </a:cubicBezTo>
                    <a:cubicBezTo>
                      <a:pt x="1257" y="1689"/>
                      <a:pt x="1261" y="1693"/>
                      <a:pt x="1267" y="1693"/>
                    </a:cubicBezTo>
                    <a:close/>
                    <a:moveTo>
                      <a:pt x="10" y="1693"/>
                    </a:moveTo>
                    <a:cubicBezTo>
                      <a:pt x="285" y="1693"/>
                      <a:pt x="285" y="1693"/>
                      <a:pt x="285" y="1693"/>
                    </a:cubicBezTo>
                    <a:cubicBezTo>
                      <a:pt x="291" y="1693"/>
                      <a:pt x="295" y="1689"/>
                      <a:pt x="295" y="1683"/>
                    </a:cubicBezTo>
                    <a:cubicBezTo>
                      <a:pt x="295" y="1580"/>
                      <a:pt x="295" y="1580"/>
                      <a:pt x="295" y="1580"/>
                    </a:cubicBezTo>
                    <a:cubicBezTo>
                      <a:pt x="295" y="1575"/>
                      <a:pt x="291" y="1570"/>
                      <a:pt x="285" y="1570"/>
                    </a:cubicBezTo>
                    <a:cubicBezTo>
                      <a:pt x="10" y="1570"/>
                      <a:pt x="10" y="1570"/>
                      <a:pt x="10" y="1570"/>
                    </a:cubicBezTo>
                    <a:cubicBezTo>
                      <a:pt x="4" y="1570"/>
                      <a:pt x="0" y="1575"/>
                      <a:pt x="0" y="1580"/>
                    </a:cubicBezTo>
                    <a:cubicBezTo>
                      <a:pt x="0" y="1683"/>
                      <a:pt x="0" y="1683"/>
                      <a:pt x="0" y="1683"/>
                    </a:cubicBezTo>
                    <a:cubicBezTo>
                      <a:pt x="0" y="1689"/>
                      <a:pt x="4" y="1693"/>
                      <a:pt x="10" y="16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0" name="Freeform 69">
                <a:extLst>
                  <a:ext uri="{FF2B5EF4-FFF2-40B4-BE49-F238E27FC236}">
                    <a16:creationId xmlns="" xmlns:a16="http://schemas.microsoft.com/office/drawing/2014/main" id="{A5761825-B54E-4FE3-84C3-C3D05FA5B40E}"/>
                  </a:ext>
                </a:extLst>
              </p:cNvPr>
              <p:cNvSpPr>
                <a:spLocks noEditPoints="1"/>
              </p:cNvSpPr>
              <p:nvPr/>
            </p:nvSpPr>
            <p:spPr bwMode="auto">
              <a:xfrm>
                <a:off x="5478781" y="3106674"/>
                <a:ext cx="1233297" cy="938784"/>
              </a:xfrm>
              <a:custGeom>
                <a:avLst/>
                <a:gdLst>
                  <a:gd name="T0" fmla="*/ 280 w 1728"/>
                  <a:gd name="T1" fmla="*/ 646 h 1314"/>
                  <a:gd name="T2" fmla="*/ 669 w 1728"/>
                  <a:gd name="T3" fmla="*/ 397 h 1314"/>
                  <a:gd name="T4" fmla="*/ 734 w 1728"/>
                  <a:gd name="T5" fmla="*/ 657 h 1314"/>
                  <a:gd name="T6" fmla="*/ 294 w 1728"/>
                  <a:gd name="T7" fmla="*/ 665 h 1314"/>
                  <a:gd name="T8" fmla="*/ 1448 w 1728"/>
                  <a:gd name="T9" fmla="*/ 646 h 1314"/>
                  <a:gd name="T10" fmla="*/ 1059 w 1728"/>
                  <a:gd name="T11" fmla="*/ 397 h 1314"/>
                  <a:gd name="T12" fmla="*/ 994 w 1728"/>
                  <a:gd name="T13" fmla="*/ 657 h 1314"/>
                  <a:gd name="T14" fmla="*/ 1434 w 1728"/>
                  <a:gd name="T15" fmla="*/ 665 h 1314"/>
                  <a:gd name="T16" fmla="*/ 693 w 1728"/>
                  <a:gd name="T17" fmla="*/ 282 h 1314"/>
                  <a:gd name="T18" fmla="*/ 703 w 1728"/>
                  <a:gd name="T19" fmla="*/ 361 h 1314"/>
                  <a:gd name="T20" fmla="*/ 747 w 1728"/>
                  <a:gd name="T21" fmla="*/ 406 h 1314"/>
                  <a:gd name="T22" fmla="*/ 864 w 1728"/>
                  <a:gd name="T23" fmla="*/ 365 h 1314"/>
                  <a:gd name="T24" fmla="*/ 981 w 1728"/>
                  <a:gd name="T25" fmla="*/ 406 h 1314"/>
                  <a:gd name="T26" fmla="*/ 1025 w 1728"/>
                  <a:gd name="T27" fmla="*/ 361 h 1314"/>
                  <a:gd name="T28" fmla="*/ 1035 w 1728"/>
                  <a:gd name="T29" fmla="*/ 282 h 1314"/>
                  <a:gd name="T30" fmla="*/ 1182 w 1728"/>
                  <a:gd name="T31" fmla="*/ 4 h 1314"/>
                  <a:gd name="T32" fmla="*/ 1127 w 1728"/>
                  <a:gd name="T33" fmla="*/ 27 h 1314"/>
                  <a:gd name="T34" fmla="*/ 1097 w 1728"/>
                  <a:gd name="T35" fmla="*/ 56 h 1314"/>
                  <a:gd name="T36" fmla="*/ 864 w 1728"/>
                  <a:gd name="T37" fmla="*/ 321 h 1314"/>
                  <a:gd name="T38" fmla="*/ 631 w 1728"/>
                  <a:gd name="T39" fmla="*/ 56 h 1314"/>
                  <a:gd name="T40" fmla="*/ 600 w 1728"/>
                  <a:gd name="T41" fmla="*/ 25 h 1314"/>
                  <a:gd name="T42" fmla="*/ 546 w 1728"/>
                  <a:gd name="T43" fmla="*/ 5 h 1314"/>
                  <a:gd name="T44" fmla="*/ 1728 w 1728"/>
                  <a:gd name="T45" fmla="*/ 1037 h 1314"/>
                  <a:gd name="T46" fmla="*/ 1706 w 1728"/>
                  <a:gd name="T47" fmla="*/ 1314 h 1314"/>
                  <a:gd name="T48" fmla="*/ 1257 w 1728"/>
                  <a:gd name="T49" fmla="*/ 1292 h 1314"/>
                  <a:gd name="T50" fmla="*/ 1279 w 1728"/>
                  <a:gd name="T51" fmla="*/ 1015 h 1314"/>
                  <a:gd name="T52" fmla="*/ 1471 w 1728"/>
                  <a:gd name="T53" fmla="*/ 883 h 1314"/>
                  <a:gd name="T54" fmla="*/ 884 w 1728"/>
                  <a:gd name="T55" fmla="*/ 1015 h 1314"/>
                  <a:gd name="T56" fmla="*/ 1097 w 1728"/>
                  <a:gd name="T57" fmla="*/ 1037 h 1314"/>
                  <a:gd name="T58" fmla="*/ 1075 w 1728"/>
                  <a:gd name="T59" fmla="*/ 1314 h 1314"/>
                  <a:gd name="T60" fmla="*/ 626 w 1728"/>
                  <a:gd name="T61" fmla="*/ 1292 h 1314"/>
                  <a:gd name="T62" fmla="*/ 648 w 1728"/>
                  <a:gd name="T63" fmla="*/ 1015 h 1314"/>
                  <a:gd name="T64" fmla="*/ 840 w 1728"/>
                  <a:gd name="T65" fmla="*/ 883 h 1314"/>
                  <a:gd name="T66" fmla="*/ 257 w 1728"/>
                  <a:gd name="T67" fmla="*/ 1015 h 1314"/>
                  <a:gd name="T68" fmla="*/ 471 w 1728"/>
                  <a:gd name="T69" fmla="*/ 1037 h 1314"/>
                  <a:gd name="T70" fmla="*/ 449 w 1728"/>
                  <a:gd name="T71" fmla="*/ 1314 h 1314"/>
                  <a:gd name="T72" fmla="*/ 0 w 1728"/>
                  <a:gd name="T73" fmla="*/ 1292 h 1314"/>
                  <a:gd name="T74" fmla="*/ 22 w 1728"/>
                  <a:gd name="T75" fmla="*/ 1015 h 1314"/>
                  <a:gd name="T76" fmla="*/ 213 w 1728"/>
                  <a:gd name="T77" fmla="*/ 861 h 1314"/>
                  <a:gd name="T78" fmla="*/ 840 w 1728"/>
                  <a:gd name="T79" fmla="*/ 839 h 1314"/>
                  <a:gd name="T80" fmla="*/ 884 w 1728"/>
                  <a:gd name="T81" fmla="*/ 709 h 1314"/>
                  <a:gd name="T82" fmla="*/ 1493 w 1728"/>
                  <a:gd name="T83" fmla="*/ 839 h 1314"/>
                  <a:gd name="T84" fmla="*/ 1515 w 1728"/>
                  <a:gd name="T85" fmla="*/ 1015 h 1314"/>
                  <a:gd name="T86" fmla="*/ 1728 w 1728"/>
                  <a:gd name="T87" fmla="*/ 1037 h 1314"/>
                  <a:gd name="T88" fmla="*/ 44 w 1728"/>
                  <a:gd name="T89" fmla="*/ 1270 h 1314"/>
                  <a:gd name="T90" fmla="*/ 427 w 1728"/>
                  <a:gd name="T91" fmla="*/ 1059 h 1314"/>
                  <a:gd name="T92" fmla="*/ 670 w 1728"/>
                  <a:gd name="T93" fmla="*/ 1059 h 1314"/>
                  <a:gd name="T94" fmla="*/ 1053 w 1728"/>
                  <a:gd name="T95" fmla="*/ 1270 h 1314"/>
                  <a:gd name="T96" fmla="*/ 670 w 1728"/>
                  <a:gd name="T97" fmla="*/ 1059 h 1314"/>
                  <a:gd name="T98" fmla="*/ 1301 w 1728"/>
                  <a:gd name="T99" fmla="*/ 1059 h 1314"/>
                  <a:gd name="T100" fmla="*/ 1684 w 1728"/>
                  <a:gd name="T101" fmla="*/ 1270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8" h="1314">
                    <a:moveTo>
                      <a:pt x="294" y="665"/>
                    </a:moveTo>
                    <a:cubicBezTo>
                      <a:pt x="284" y="665"/>
                      <a:pt x="277" y="655"/>
                      <a:pt x="280" y="646"/>
                    </a:cubicBezTo>
                    <a:cubicBezTo>
                      <a:pt x="298" y="598"/>
                      <a:pt x="350" y="472"/>
                      <a:pt x="422" y="440"/>
                    </a:cubicBezTo>
                    <a:cubicBezTo>
                      <a:pt x="501" y="403"/>
                      <a:pt x="640" y="398"/>
                      <a:pt x="669" y="397"/>
                    </a:cubicBezTo>
                    <a:cubicBezTo>
                      <a:pt x="672" y="397"/>
                      <a:pt x="674" y="399"/>
                      <a:pt x="675" y="402"/>
                    </a:cubicBezTo>
                    <a:cubicBezTo>
                      <a:pt x="734" y="657"/>
                      <a:pt x="734" y="657"/>
                      <a:pt x="734" y="657"/>
                    </a:cubicBezTo>
                    <a:cubicBezTo>
                      <a:pt x="735" y="661"/>
                      <a:pt x="732" y="665"/>
                      <a:pt x="728" y="665"/>
                    </a:cubicBezTo>
                    <a:lnTo>
                      <a:pt x="294" y="665"/>
                    </a:lnTo>
                    <a:close/>
                    <a:moveTo>
                      <a:pt x="1434" y="665"/>
                    </a:moveTo>
                    <a:cubicBezTo>
                      <a:pt x="1444" y="665"/>
                      <a:pt x="1451" y="655"/>
                      <a:pt x="1448" y="646"/>
                    </a:cubicBezTo>
                    <a:cubicBezTo>
                      <a:pt x="1430" y="598"/>
                      <a:pt x="1378" y="472"/>
                      <a:pt x="1306" y="440"/>
                    </a:cubicBezTo>
                    <a:cubicBezTo>
                      <a:pt x="1227" y="403"/>
                      <a:pt x="1088" y="398"/>
                      <a:pt x="1059" y="397"/>
                    </a:cubicBezTo>
                    <a:cubicBezTo>
                      <a:pt x="1056" y="397"/>
                      <a:pt x="1054" y="399"/>
                      <a:pt x="1053" y="402"/>
                    </a:cubicBezTo>
                    <a:cubicBezTo>
                      <a:pt x="994" y="657"/>
                      <a:pt x="994" y="657"/>
                      <a:pt x="994" y="657"/>
                    </a:cubicBezTo>
                    <a:cubicBezTo>
                      <a:pt x="993" y="661"/>
                      <a:pt x="996" y="665"/>
                      <a:pt x="1000" y="665"/>
                    </a:cubicBezTo>
                    <a:lnTo>
                      <a:pt x="1434" y="665"/>
                    </a:lnTo>
                    <a:close/>
                    <a:moveTo>
                      <a:pt x="593" y="79"/>
                    </a:moveTo>
                    <a:cubicBezTo>
                      <a:pt x="612" y="129"/>
                      <a:pt x="665" y="257"/>
                      <a:pt x="693" y="282"/>
                    </a:cubicBezTo>
                    <a:cubicBezTo>
                      <a:pt x="696" y="284"/>
                      <a:pt x="699" y="287"/>
                      <a:pt x="703" y="290"/>
                    </a:cubicBezTo>
                    <a:cubicBezTo>
                      <a:pt x="703" y="361"/>
                      <a:pt x="703" y="361"/>
                      <a:pt x="703" y="361"/>
                    </a:cubicBezTo>
                    <a:cubicBezTo>
                      <a:pt x="710" y="371"/>
                      <a:pt x="710" y="371"/>
                      <a:pt x="710" y="371"/>
                    </a:cubicBezTo>
                    <a:cubicBezTo>
                      <a:pt x="711" y="372"/>
                      <a:pt x="723" y="389"/>
                      <a:pt x="747" y="406"/>
                    </a:cubicBezTo>
                    <a:cubicBezTo>
                      <a:pt x="747" y="321"/>
                      <a:pt x="747" y="321"/>
                      <a:pt x="747" y="321"/>
                    </a:cubicBezTo>
                    <a:cubicBezTo>
                      <a:pt x="783" y="343"/>
                      <a:pt x="828" y="365"/>
                      <a:pt x="864" y="365"/>
                    </a:cubicBezTo>
                    <a:cubicBezTo>
                      <a:pt x="900" y="365"/>
                      <a:pt x="945" y="343"/>
                      <a:pt x="981" y="320"/>
                    </a:cubicBezTo>
                    <a:cubicBezTo>
                      <a:pt x="981" y="406"/>
                      <a:pt x="981" y="406"/>
                      <a:pt x="981" y="406"/>
                    </a:cubicBezTo>
                    <a:cubicBezTo>
                      <a:pt x="1005" y="389"/>
                      <a:pt x="1017" y="372"/>
                      <a:pt x="1018" y="371"/>
                    </a:cubicBezTo>
                    <a:cubicBezTo>
                      <a:pt x="1025" y="361"/>
                      <a:pt x="1025" y="361"/>
                      <a:pt x="1025" y="361"/>
                    </a:cubicBezTo>
                    <a:cubicBezTo>
                      <a:pt x="1025" y="290"/>
                      <a:pt x="1025" y="290"/>
                      <a:pt x="1025" y="290"/>
                    </a:cubicBezTo>
                    <a:cubicBezTo>
                      <a:pt x="1029" y="287"/>
                      <a:pt x="1032" y="284"/>
                      <a:pt x="1035" y="282"/>
                    </a:cubicBezTo>
                    <a:cubicBezTo>
                      <a:pt x="1063" y="257"/>
                      <a:pt x="1116" y="129"/>
                      <a:pt x="1135" y="79"/>
                    </a:cubicBezTo>
                    <a:cubicBezTo>
                      <a:pt x="1170" y="57"/>
                      <a:pt x="1179" y="20"/>
                      <a:pt x="1182" y="4"/>
                    </a:cubicBezTo>
                    <a:cubicBezTo>
                      <a:pt x="1182" y="3"/>
                      <a:pt x="1182" y="2"/>
                      <a:pt x="1182" y="1"/>
                    </a:cubicBezTo>
                    <a:cubicBezTo>
                      <a:pt x="1127" y="27"/>
                      <a:pt x="1127" y="27"/>
                      <a:pt x="1127" y="27"/>
                    </a:cubicBezTo>
                    <a:cubicBezTo>
                      <a:pt x="1122" y="34"/>
                      <a:pt x="1116" y="40"/>
                      <a:pt x="1107" y="44"/>
                    </a:cubicBezTo>
                    <a:cubicBezTo>
                      <a:pt x="1103" y="47"/>
                      <a:pt x="1099" y="51"/>
                      <a:pt x="1097" y="56"/>
                    </a:cubicBezTo>
                    <a:cubicBezTo>
                      <a:pt x="1065" y="138"/>
                      <a:pt x="1020" y="236"/>
                      <a:pt x="1006" y="249"/>
                    </a:cubicBezTo>
                    <a:cubicBezTo>
                      <a:pt x="978" y="273"/>
                      <a:pt x="903" y="321"/>
                      <a:pt x="864" y="321"/>
                    </a:cubicBezTo>
                    <a:cubicBezTo>
                      <a:pt x="824" y="321"/>
                      <a:pt x="750" y="273"/>
                      <a:pt x="722" y="249"/>
                    </a:cubicBezTo>
                    <a:cubicBezTo>
                      <a:pt x="707" y="236"/>
                      <a:pt x="663" y="138"/>
                      <a:pt x="631" y="56"/>
                    </a:cubicBezTo>
                    <a:cubicBezTo>
                      <a:pt x="629" y="51"/>
                      <a:pt x="625" y="47"/>
                      <a:pt x="620" y="44"/>
                    </a:cubicBezTo>
                    <a:cubicBezTo>
                      <a:pt x="611" y="39"/>
                      <a:pt x="604" y="33"/>
                      <a:pt x="600" y="25"/>
                    </a:cubicBezTo>
                    <a:cubicBezTo>
                      <a:pt x="546" y="0"/>
                      <a:pt x="546" y="0"/>
                      <a:pt x="546" y="0"/>
                    </a:cubicBezTo>
                    <a:cubicBezTo>
                      <a:pt x="546" y="2"/>
                      <a:pt x="546" y="4"/>
                      <a:pt x="546" y="5"/>
                    </a:cubicBezTo>
                    <a:cubicBezTo>
                      <a:pt x="550" y="25"/>
                      <a:pt x="560" y="59"/>
                      <a:pt x="593" y="79"/>
                    </a:cubicBezTo>
                    <a:close/>
                    <a:moveTo>
                      <a:pt x="1728" y="1037"/>
                    </a:moveTo>
                    <a:cubicBezTo>
                      <a:pt x="1728" y="1292"/>
                      <a:pt x="1728" y="1292"/>
                      <a:pt x="1728" y="1292"/>
                    </a:cubicBezTo>
                    <a:cubicBezTo>
                      <a:pt x="1728" y="1304"/>
                      <a:pt x="1718" y="1314"/>
                      <a:pt x="1706" y="1314"/>
                    </a:cubicBezTo>
                    <a:cubicBezTo>
                      <a:pt x="1279" y="1314"/>
                      <a:pt x="1279" y="1314"/>
                      <a:pt x="1279" y="1314"/>
                    </a:cubicBezTo>
                    <a:cubicBezTo>
                      <a:pt x="1267" y="1314"/>
                      <a:pt x="1257" y="1304"/>
                      <a:pt x="1257" y="1292"/>
                    </a:cubicBezTo>
                    <a:cubicBezTo>
                      <a:pt x="1257" y="1037"/>
                      <a:pt x="1257" y="1037"/>
                      <a:pt x="1257" y="1037"/>
                    </a:cubicBezTo>
                    <a:cubicBezTo>
                      <a:pt x="1257" y="1025"/>
                      <a:pt x="1267" y="1015"/>
                      <a:pt x="1279" y="1015"/>
                    </a:cubicBezTo>
                    <a:cubicBezTo>
                      <a:pt x="1471" y="1015"/>
                      <a:pt x="1471" y="1015"/>
                      <a:pt x="1471" y="1015"/>
                    </a:cubicBezTo>
                    <a:cubicBezTo>
                      <a:pt x="1471" y="883"/>
                      <a:pt x="1471" y="883"/>
                      <a:pt x="1471" y="883"/>
                    </a:cubicBezTo>
                    <a:cubicBezTo>
                      <a:pt x="884" y="883"/>
                      <a:pt x="884" y="883"/>
                      <a:pt x="884" y="883"/>
                    </a:cubicBezTo>
                    <a:cubicBezTo>
                      <a:pt x="884" y="1015"/>
                      <a:pt x="884" y="1015"/>
                      <a:pt x="884" y="1015"/>
                    </a:cubicBezTo>
                    <a:cubicBezTo>
                      <a:pt x="1075" y="1015"/>
                      <a:pt x="1075" y="1015"/>
                      <a:pt x="1075" y="1015"/>
                    </a:cubicBezTo>
                    <a:cubicBezTo>
                      <a:pt x="1087" y="1015"/>
                      <a:pt x="1097" y="1025"/>
                      <a:pt x="1097" y="1037"/>
                    </a:cubicBezTo>
                    <a:cubicBezTo>
                      <a:pt x="1097" y="1292"/>
                      <a:pt x="1097" y="1292"/>
                      <a:pt x="1097" y="1292"/>
                    </a:cubicBezTo>
                    <a:cubicBezTo>
                      <a:pt x="1097" y="1304"/>
                      <a:pt x="1087" y="1314"/>
                      <a:pt x="1075" y="1314"/>
                    </a:cubicBezTo>
                    <a:cubicBezTo>
                      <a:pt x="648" y="1314"/>
                      <a:pt x="648" y="1314"/>
                      <a:pt x="648" y="1314"/>
                    </a:cubicBezTo>
                    <a:cubicBezTo>
                      <a:pt x="636" y="1314"/>
                      <a:pt x="626" y="1304"/>
                      <a:pt x="626" y="1292"/>
                    </a:cubicBezTo>
                    <a:cubicBezTo>
                      <a:pt x="626" y="1037"/>
                      <a:pt x="626" y="1037"/>
                      <a:pt x="626" y="1037"/>
                    </a:cubicBezTo>
                    <a:cubicBezTo>
                      <a:pt x="626" y="1025"/>
                      <a:pt x="636" y="1015"/>
                      <a:pt x="648" y="1015"/>
                    </a:cubicBezTo>
                    <a:cubicBezTo>
                      <a:pt x="840" y="1015"/>
                      <a:pt x="840" y="1015"/>
                      <a:pt x="840" y="1015"/>
                    </a:cubicBezTo>
                    <a:cubicBezTo>
                      <a:pt x="840" y="883"/>
                      <a:pt x="840" y="883"/>
                      <a:pt x="840" y="883"/>
                    </a:cubicBezTo>
                    <a:cubicBezTo>
                      <a:pt x="257" y="883"/>
                      <a:pt x="257" y="883"/>
                      <a:pt x="257" y="883"/>
                    </a:cubicBezTo>
                    <a:cubicBezTo>
                      <a:pt x="257" y="1015"/>
                      <a:pt x="257" y="1015"/>
                      <a:pt x="257" y="1015"/>
                    </a:cubicBezTo>
                    <a:cubicBezTo>
                      <a:pt x="449" y="1015"/>
                      <a:pt x="449" y="1015"/>
                      <a:pt x="449" y="1015"/>
                    </a:cubicBezTo>
                    <a:cubicBezTo>
                      <a:pt x="461" y="1015"/>
                      <a:pt x="471" y="1025"/>
                      <a:pt x="471" y="1037"/>
                    </a:cubicBezTo>
                    <a:cubicBezTo>
                      <a:pt x="471" y="1292"/>
                      <a:pt x="471" y="1292"/>
                      <a:pt x="471" y="1292"/>
                    </a:cubicBezTo>
                    <a:cubicBezTo>
                      <a:pt x="471" y="1304"/>
                      <a:pt x="461" y="1314"/>
                      <a:pt x="449" y="1314"/>
                    </a:cubicBezTo>
                    <a:cubicBezTo>
                      <a:pt x="22" y="1314"/>
                      <a:pt x="22" y="1314"/>
                      <a:pt x="22" y="1314"/>
                    </a:cubicBezTo>
                    <a:cubicBezTo>
                      <a:pt x="10" y="1314"/>
                      <a:pt x="0" y="1304"/>
                      <a:pt x="0" y="1292"/>
                    </a:cubicBezTo>
                    <a:cubicBezTo>
                      <a:pt x="0" y="1037"/>
                      <a:pt x="0" y="1037"/>
                      <a:pt x="0" y="1037"/>
                    </a:cubicBezTo>
                    <a:cubicBezTo>
                      <a:pt x="0" y="1025"/>
                      <a:pt x="10" y="1015"/>
                      <a:pt x="22" y="1015"/>
                    </a:cubicBezTo>
                    <a:cubicBezTo>
                      <a:pt x="213" y="1015"/>
                      <a:pt x="213" y="1015"/>
                      <a:pt x="213" y="1015"/>
                    </a:cubicBezTo>
                    <a:cubicBezTo>
                      <a:pt x="213" y="861"/>
                      <a:pt x="213" y="861"/>
                      <a:pt x="213" y="861"/>
                    </a:cubicBezTo>
                    <a:cubicBezTo>
                      <a:pt x="213" y="849"/>
                      <a:pt x="223" y="839"/>
                      <a:pt x="235" y="839"/>
                    </a:cubicBezTo>
                    <a:cubicBezTo>
                      <a:pt x="840" y="839"/>
                      <a:pt x="840" y="839"/>
                      <a:pt x="840" y="839"/>
                    </a:cubicBezTo>
                    <a:cubicBezTo>
                      <a:pt x="840" y="709"/>
                      <a:pt x="840" y="709"/>
                      <a:pt x="840" y="709"/>
                    </a:cubicBezTo>
                    <a:cubicBezTo>
                      <a:pt x="884" y="709"/>
                      <a:pt x="884" y="709"/>
                      <a:pt x="884" y="709"/>
                    </a:cubicBezTo>
                    <a:cubicBezTo>
                      <a:pt x="884" y="839"/>
                      <a:pt x="884" y="839"/>
                      <a:pt x="884" y="839"/>
                    </a:cubicBezTo>
                    <a:cubicBezTo>
                      <a:pt x="1493" y="839"/>
                      <a:pt x="1493" y="839"/>
                      <a:pt x="1493" y="839"/>
                    </a:cubicBezTo>
                    <a:cubicBezTo>
                      <a:pt x="1505" y="839"/>
                      <a:pt x="1515" y="849"/>
                      <a:pt x="1515" y="861"/>
                    </a:cubicBezTo>
                    <a:cubicBezTo>
                      <a:pt x="1515" y="1015"/>
                      <a:pt x="1515" y="1015"/>
                      <a:pt x="1515" y="1015"/>
                    </a:cubicBezTo>
                    <a:cubicBezTo>
                      <a:pt x="1706" y="1015"/>
                      <a:pt x="1706" y="1015"/>
                      <a:pt x="1706" y="1015"/>
                    </a:cubicBezTo>
                    <a:cubicBezTo>
                      <a:pt x="1718" y="1015"/>
                      <a:pt x="1728" y="1025"/>
                      <a:pt x="1728" y="1037"/>
                    </a:cubicBezTo>
                    <a:close/>
                    <a:moveTo>
                      <a:pt x="44" y="1059"/>
                    </a:moveTo>
                    <a:cubicBezTo>
                      <a:pt x="44" y="1270"/>
                      <a:pt x="44" y="1270"/>
                      <a:pt x="44" y="1270"/>
                    </a:cubicBezTo>
                    <a:cubicBezTo>
                      <a:pt x="427" y="1270"/>
                      <a:pt x="427" y="1270"/>
                      <a:pt x="427" y="1270"/>
                    </a:cubicBezTo>
                    <a:cubicBezTo>
                      <a:pt x="427" y="1059"/>
                      <a:pt x="427" y="1059"/>
                      <a:pt x="427" y="1059"/>
                    </a:cubicBezTo>
                    <a:lnTo>
                      <a:pt x="44" y="1059"/>
                    </a:lnTo>
                    <a:close/>
                    <a:moveTo>
                      <a:pt x="670" y="1059"/>
                    </a:moveTo>
                    <a:cubicBezTo>
                      <a:pt x="670" y="1270"/>
                      <a:pt x="670" y="1270"/>
                      <a:pt x="670" y="1270"/>
                    </a:cubicBezTo>
                    <a:cubicBezTo>
                      <a:pt x="1053" y="1270"/>
                      <a:pt x="1053" y="1270"/>
                      <a:pt x="1053" y="1270"/>
                    </a:cubicBezTo>
                    <a:cubicBezTo>
                      <a:pt x="1053" y="1059"/>
                      <a:pt x="1053" y="1059"/>
                      <a:pt x="1053" y="1059"/>
                    </a:cubicBezTo>
                    <a:lnTo>
                      <a:pt x="670" y="1059"/>
                    </a:lnTo>
                    <a:close/>
                    <a:moveTo>
                      <a:pt x="1684" y="1059"/>
                    </a:moveTo>
                    <a:cubicBezTo>
                      <a:pt x="1301" y="1059"/>
                      <a:pt x="1301" y="1059"/>
                      <a:pt x="1301" y="1059"/>
                    </a:cubicBezTo>
                    <a:cubicBezTo>
                      <a:pt x="1301" y="1270"/>
                      <a:pt x="1301" y="1270"/>
                      <a:pt x="1301" y="1270"/>
                    </a:cubicBezTo>
                    <a:cubicBezTo>
                      <a:pt x="1684" y="1270"/>
                      <a:pt x="1684" y="1270"/>
                      <a:pt x="1684" y="1270"/>
                    </a:cubicBezTo>
                    <a:lnTo>
                      <a:pt x="1684" y="10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grpSp>
        <p:nvGrpSpPr>
          <p:cNvPr id="71" name="Group 70"/>
          <p:cNvGrpSpPr>
            <a:grpSpLocks noChangeAspect="1"/>
          </p:cNvGrpSpPr>
          <p:nvPr/>
        </p:nvGrpSpPr>
        <p:grpSpPr>
          <a:xfrm>
            <a:off x="5373233" y="1622425"/>
            <a:ext cx="742263" cy="742950"/>
            <a:chOff x="5273801" y="2606040"/>
            <a:chExt cx="1644397" cy="1645920"/>
          </a:xfrm>
        </p:grpSpPr>
        <p:sp>
          <p:nvSpPr>
            <p:cNvPr id="72"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73" name="Group 72"/>
            <p:cNvGrpSpPr/>
            <p:nvPr/>
          </p:nvGrpSpPr>
          <p:grpSpPr>
            <a:xfrm>
              <a:off x="5439917" y="2787396"/>
              <a:ext cx="1310641" cy="1281684"/>
              <a:chOff x="5439917" y="2787396"/>
              <a:chExt cx="1310641" cy="1281684"/>
            </a:xfrm>
          </p:grpSpPr>
          <p:sp>
            <p:nvSpPr>
              <p:cNvPr id="74"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5"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grpSp>
        <p:nvGrpSpPr>
          <p:cNvPr id="76" name="Group 75"/>
          <p:cNvGrpSpPr/>
          <p:nvPr/>
        </p:nvGrpSpPr>
        <p:grpSpPr>
          <a:xfrm>
            <a:off x="5425859" y="5291283"/>
            <a:ext cx="636151" cy="436655"/>
            <a:chOff x="5388863" y="2953131"/>
            <a:chExt cx="1409319" cy="967359"/>
          </a:xfrm>
        </p:grpSpPr>
        <p:sp>
          <p:nvSpPr>
            <p:cNvPr id="77" name="Freeform 20">
              <a:extLst>
                <a:ext uri="{FF2B5EF4-FFF2-40B4-BE49-F238E27FC236}">
                  <a16:creationId xmlns=""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8" name="Freeform 21">
              <a:extLst>
                <a:ext uri="{FF2B5EF4-FFF2-40B4-BE49-F238E27FC236}">
                  <a16:creationId xmlns=""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79" name="ee4pFootnotes"/>
          <p:cNvSpPr>
            <a:spLocks noChangeArrowheads="1"/>
          </p:cNvSpPr>
          <p:nvPr/>
        </p:nvSpPr>
        <p:spPr bwMode="auto">
          <a:xfrm>
            <a:off x="630000" y="6432327"/>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s-ES" sz="1000" dirty="0">
                <a:solidFill>
                  <a:schemeClr val="bg1">
                    <a:lumMod val="50000"/>
                  </a:schemeClr>
                </a:solidFill>
                <a:latin typeface="Trebuchet MS" panose="020B0603020202020204" pitchFamily="34" charset="0"/>
                <a:cs typeface="Arial" pitchFamily="34" charset="0"/>
              </a:rPr>
              <a:t>Fuente: BCG</a:t>
            </a:r>
          </a:p>
        </p:txBody>
      </p:sp>
    </p:spTree>
    <p:extLst>
      <p:ext uri="{BB962C8B-B14F-4D97-AF65-F5344CB8AC3E}">
        <p14:creationId xmlns:p14="http://schemas.microsoft.com/office/powerpoint/2010/main" val="2606324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16="http://schemas.microsoft.com/office/drawing/2014/main" xmlns:a14="http://schemas.microsoft.com/office/drawing/2010/main" xmlns:v="urn:schemas-microsoft-com:vml"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73" name="think-cell Slide" r:id="rId10" imgW="395" imgH="394" progId="TCLayout.ActiveDocument.1">
                  <p:embed/>
                </p:oleObj>
              </mc:Choice>
              <mc:Fallback>
                <p:oleObj name="think-cell Slide"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4" name="Rectangle 3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sz="3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Picture 7"/>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 y="-1"/>
            <a:ext cx="12207833" cy="6858000"/>
          </a:xfrm>
          <a:prstGeom prst="rect">
            <a:avLst/>
          </a:prstGeom>
        </p:spPr>
      </p:pic>
      <p:sp>
        <p:nvSpPr>
          <p:cNvPr id="94" name="Overlay"/>
          <p:cNvSpPr/>
          <p:nvPr>
            <p:custDataLst>
              <p:tags r:id="rId4"/>
            </p:custDataLst>
          </p:nvPr>
        </p:nvSpPr>
        <p:spPr>
          <a:xfrm>
            <a:off x="-11865" y="9624"/>
            <a:ext cx="12207833"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s-ES" sz="1200" dirty="0">
              <a:solidFill>
                <a:schemeClr val="bg1"/>
              </a:solidFill>
            </a:endParaRPr>
          </a:p>
        </p:txBody>
      </p:sp>
      <p:sp>
        <p:nvSpPr>
          <p:cNvPr id="4" name="Title 3"/>
          <p:cNvSpPr>
            <a:spLocks noGrp="1"/>
          </p:cNvSpPr>
          <p:nvPr>
            <p:ph type="title"/>
          </p:nvPr>
        </p:nvSpPr>
        <p:spPr>
          <a:xfrm>
            <a:off x="630000" y="622800"/>
            <a:ext cx="10933200" cy="941796"/>
          </a:xfrm>
        </p:spPr>
        <p:txBody>
          <a:bodyPr/>
          <a:lstStyle/>
          <a:p>
            <a:r>
              <a:rPr lang="es-ES" dirty="0">
                <a:solidFill>
                  <a:srgbClr val="FFFFFF"/>
                </a:solidFill>
              </a:rPr>
              <a:t>Aprovechar las respuestas frente al COVID-19</a:t>
            </a:r>
            <a:br>
              <a:rPr lang="es-ES" dirty="0">
                <a:solidFill>
                  <a:srgbClr val="FFFFFF"/>
                </a:solidFill>
              </a:rPr>
            </a:br>
            <a:r>
              <a:rPr lang="es-ES" dirty="0">
                <a:solidFill>
                  <a:srgbClr val="FFFFFF"/>
                </a:solidFill>
              </a:rPr>
              <a:t>para adelantarse al potencial impacto a C/P y M/P</a:t>
            </a:r>
          </a:p>
        </p:txBody>
      </p:sp>
      <p:sp>
        <p:nvSpPr>
          <p:cNvPr id="40" name="ValueChainStarter 2"/>
          <p:cNvSpPr>
            <a:spLocks noChangeArrowheads="1"/>
          </p:cNvSpPr>
          <p:nvPr>
            <p:custDataLst>
              <p:tags r:id="rId5"/>
            </p:custDataLst>
          </p:nvPr>
        </p:nvSpPr>
        <p:spPr bwMode="gray">
          <a:xfrm>
            <a:off x="7472074" y="1716498"/>
            <a:ext cx="2180835" cy="691306"/>
          </a:xfrm>
          <a:prstGeom prst="rect">
            <a:avLst/>
          </a:prstGeom>
          <a:noFill/>
          <a:ln w="38100" algn="ctr">
            <a:noFill/>
            <a:miter lim="800000"/>
            <a:headEnd/>
            <a:tailEnd/>
          </a:ln>
          <a:extLst>
            <a:ext uri="{909E8E84-426E-40DD-AFC4-6F175D3DCCD1}">
              <a14:hiddenFill xmlns:a14="http://schemas.microsoft.com/office/drawing/2010/main">
                <a:solidFill>
                  <a:schemeClr val="tx2"/>
                </a:solidFill>
              </a14:hiddenFill>
            </a:ext>
          </a:extLst>
        </p:spPr>
        <p:txBody>
          <a:bodyPr lIns="0" tIns="0" rIns="0" bIns="0" anchor="ctr" anchorCtr="0"/>
          <a:lstStyle/>
          <a:p>
            <a:pPr algn="ctr" eaLnBrk="0" hangingPunct="0"/>
            <a:r>
              <a:rPr lang="es-ES" sz="2000" b="1" dirty="0">
                <a:solidFill>
                  <a:srgbClr val="D4DF33"/>
                </a:solidFill>
                <a:latin typeface="Trebuchet MS" panose="020B0603020202020204" pitchFamily="34" charset="0"/>
              </a:rPr>
              <a:t>Corto plazo</a:t>
            </a:r>
            <a:endParaRPr lang="es-ES" b="1" dirty="0">
              <a:solidFill>
                <a:srgbClr val="FFFFFF"/>
              </a:solidFill>
              <a:latin typeface="Trebuchet MS" panose="020B0603020202020204" pitchFamily="34" charset="0"/>
            </a:endParaRPr>
          </a:p>
        </p:txBody>
      </p:sp>
      <p:sp>
        <p:nvSpPr>
          <p:cNvPr id="41" name="ValueChainStarter 4"/>
          <p:cNvSpPr>
            <a:spLocks noChangeArrowheads="1"/>
          </p:cNvSpPr>
          <p:nvPr>
            <p:custDataLst>
              <p:tags r:id="rId6"/>
            </p:custDataLst>
          </p:nvPr>
        </p:nvSpPr>
        <p:spPr bwMode="gray">
          <a:xfrm>
            <a:off x="9681732" y="1716498"/>
            <a:ext cx="2294544" cy="691306"/>
          </a:xfrm>
          <a:prstGeom prst="rect">
            <a:avLst/>
          </a:prstGeom>
          <a:noFill/>
          <a:ln w="38100" algn="ctr">
            <a:noFill/>
            <a:miter lim="800000"/>
            <a:headEnd/>
            <a:tailEnd/>
          </a:ln>
          <a:extLst>
            <a:ext uri="{909E8E84-426E-40DD-AFC4-6F175D3DCCD1}">
              <a14:hiddenFill xmlns:a14="http://schemas.microsoft.com/office/drawing/2010/main">
                <a:solidFill>
                  <a:schemeClr val="tx2"/>
                </a:solidFill>
              </a14:hiddenFill>
            </a:ext>
          </a:extLst>
        </p:spPr>
        <p:txBody>
          <a:bodyPr lIns="0" tIns="0" rIns="0" bIns="0" anchor="ctr" anchorCtr="0"/>
          <a:lstStyle/>
          <a:p>
            <a:pPr algn="ctr" eaLnBrk="0" hangingPunct="0"/>
            <a:r>
              <a:rPr lang="es-ES" sz="2000" b="1" dirty="0">
                <a:solidFill>
                  <a:srgbClr val="D4DF33"/>
                </a:solidFill>
                <a:latin typeface="Trebuchet MS" panose="020B0603020202020204" pitchFamily="34" charset="0"/>
              </a:rPr>
              <a:t>Medio plazo</a:t>
            </a:r>
            <a:endParaRPr lang="es-ES" b="1" dirty="0">
              <a:solidFill>
                <a:srgbClr val="FFFFFF"/>
              </a:solidFill>
              <a:latin typeface="Trebuchet MS" panose="020B0603020202020204" pitchFamily="34" charset="0"/>
            </a:endParaRPr>
          </a:p>
        </p:txBody>
      </p:sp>
      <p:sp>
        <p:nvSpPr>
          <p:cNvPr id="52" name="ValueChainStarter 1"/>
          <p:cNvSpPr>
            <a:spLocks noChangeArrowheads="1"/>
          </p:cNvSpPr>
          <p:nvPr>
            <p:custDataLst>
              <p:tags r:id="rId7"/>
            </p:custDataLst>
          </p:nvPr>
        </p:nvSpPr>
        <p:spPr bwMode="gray">
          <a:xfrm>
            <a:off x="5163557" y="1686441"/>
            <a:ext cx="2167684" cy="691306"/>
          </a:xfrm>
          <a:prstGeom prst="rect">
            <a:avLst/>
          </a:prstGeom>
          <a:noFill/>
          <a:ln w="38100" algn="ctr">
            <a:noFill/>
            <a:miter lim="800000"/>
            <a:headEnd/>
            <a:tailEnd/>
          </a:ln>
          <a:extLst>
            <a:ext uri="{909E8E84-426E-40DD-AFC4-6F175D3DCCD1}">
              <a14:hiddenFill xmlns:a14="http://schemas.microsoft.com/office/drawing/2010/main">
                <a:solidFill>
                  <a:schemeClr val="tx2"/>
                </a:solidFill>
              </a14:hiddenFill>
            </a:ext>
          </a:extLst>
        </p:spPr>
        <p:txBody>
          <a:bodyPr lIns="0" tIns="0" rIns="0" bIns="0" anchor="ctr" anchorCtr="0"/>
          <a:lstStyle/>
          <a:p>
            <a:pPr algn="ctr" eaLnBrk="0" hangingPunct="0"/>
            <a:r>
              <a:rPr lang="es-ES" sz="2000" b="1" dirty="0">
                <a:solidFill>
                  <a:srgbClr val="D4DF33"/>
                </a:solidFill>
                <a:latin typeface="Trebuchet MS" panose="020B0603020202020204" pitchFamily="34" charset="0"/>
              </a:rPr>
              <a:t>Ahora</a:t>
            </a:r>
            <a:endParaRPr lang="es-ES" b="1" dirty="0">
              <a:solidFill>
                <a:srgbClr val="FFFFFF"/>
              </a:solidFill>
              <a:latin typeface="Trebuchet MS" panose="020B0603020202020204" pitchFamily="34" charset="0"/>
            </a:endParaRPr>
          </a:p>
        </p:txBody>
      </p:sp>
      <p:sp>
        <p:nvSpPr>
          <p:cNvPr id="69" name="Rectangle 68"/>
          <p:cNvSpPr/>
          <p:nvPr/>
        </p:nvSpPr>
        <p:spPr>
          <a:xfrm>
            <a:off x="5281241" y="2377747"/>
            <a:ext cx="2063151" cy="4124134"/>
          </a:xfrm>
          <a:prstGeom prst="rect">
            <a:avLst/>
          </a:prstGeom>
          <a:solidFill>
            <a:srgbClr val="FFFFFF">
              <a:alpha val="91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54000" bIns="0" numCol="1" spcCol="0" rtlCol="0" fromWordArt="0" anchor="ctr" anchorCtr="0" forceAA="0" compatLnSpc="1">
            <a:prstTxWarp prst="textNoShape">
              <a:avLst/>
            </a:prstTxWarp>
            <a:noAutofit/>
          </a:bodyPr>
          <a:lstStyle/>
          <a:p>
            <a:pPr marL="0" lvl="1" algn="ctr">
              <a:buClr>
                <a:schemeClr val="tx2">
                  <a:lumMod val="100000"/>
                </a:schemeClr>
              </a:buClr>
              <a:buSzPct val="100000"/>
            </a:pPr>
            <a:r>
              <a:rPr lang="es-ES" dirty="0">
                <a:solidFill>
                  <a:srgbClr val="575757"/>
                </a:solidFill>
                <a:latin typeface="Trebuchet MS" panose="020B0603020202020204" pitchFamily="34" charset="0"/>
              </a:rPr>
              <a:t>¿Han creado</a:t>
            </a:r>
            <a:br>
              <a:rPr lang="es-ES" dirty="0">
                <a:solidFill>
                  <a:srgbClr val="575757"/>
                </a:solidFill>
                <a:latin typeface="Trebuchet MS" panose="020B0603020202020204" pitchFamily="34" charset="0"/>
              </a:rPr>
            </a:br>
            <a:r>
              <a:rPr lang="es-ES" dirty="0">
                <a:solidFill>
                  <a:srgbClr val="575757"/>
                </a:solidFill>
                <a:latin typeface="Trebuchet MS" panose="020B0603020202020204" pitchFamily="34" charset="0"/>
              </a:rPr>
              <a:t>un equipo de respuesta rápida para abordar las responsabilidades inmediatas a lo largo de las siete respuestas?</a:t>
            </a:r>
          </a:p>
        </p:txBody>
      </p:sp>
      <p:sp>
        <p:nvSpPr>
          <p:cNvPr id="73" name="Rectangle 72"/>
          <p:cNvSpPr/>
          <p:nvPr/>
        </p:nvSpPr>
        <p:spPr>
          <a:xfrm>
            <a:off x="7594613" y="2377747"/>
            <a:ext cx="2063151" cy="4124134"/>
          </a:xfrm>
          <a:prstGeom prst="rect">
            <a:avLst/>
          </a:prstGeom>
          <a:solidFill>
            <a:srgbClr val="FFFFFF">
              <a:alpha val="91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54000" bIns="0" numCol="1" spcCol="0" rtlCol="0" fromWordArt="0" anchor="ctr" anchorCtr="0" forceAA="0" compatLnSpc="1">
            <a:prstTxWarp prst="textNoShape">
              <a:avLst/>
            </a:prstTxWarp>
            <a:noAutofit/>
          </a:bodyPr>
          <a:lstStyle/>
          <a:p>
            <a:pPr marL="0" lvl="1" algn="ctr">
              <a:buClr>
                <a:schemeClr val="tx2">
                  <a:lumMod val="100000"/>
                </a:schemeClr>
              </a:buClr>
              <a:buSzPct val="100000"/>
            </a:pPr>
            <a:r>
              <a:rPr lang="es-ES" dirty="0">
                <a:solidFill>
                  <a:srgbClr val="575757"/>
                </a:solidFill>
                <a:latin typeface="Trebuchet MS" panose="020B0603020202020204" pitchFamily="34" charset="0"/>
              </a:rPr>
              <a:t>¿Han analizado el impacto máximo posible en la organización y están preparados</a:t>
            </a:r>
            <a:br>
              <a:rPr lang="es-ES" dirty="0">
                <a:solidFill>
                  <a:srgbClr val="575757"/>
                </a:solidFill>
                <a:latin typeface="Trebuchet MS" panose="020B0603020202020204" pitchFamily="34" charset="0"/>
              </a:rPr>
            </a:br>
            <a:r>
              <a:rPr lang="es-ES" dirty="0">
                <a:solidFill>
                  <a:srgbClr val="575757"/>
                </a:solidFill>
                <a:latin typeface="Trebuchet MS" panose="020B0603020202020204" pitchFamily="34" charset="0"/>
              </a:rPr>
              <a:t>para ello?</a:t>
            </a:r>
          </a:p>
        </p:txBody>
      </p:sp>
      <p:sp>
        <p:nvSpPr>
          <p:cNvPr id="77" name="Rectangle 76"/>
          <p:cNvSpPr/>
          <p:nvPr/>
        </p:nvSpPr>
        <p:spPr>
          <a:xfrm>
            <a:off x="9907985" y="2377747"/>
            <a:ext cx="2063151" cy="4124134"/>
          </a:xfrm>
          <a:prstGeom prst="rect">
            <a:avLst/>
          </a:prstGeom>
          <a:solidFill>
            <a:srgbClr val="FFFFFF">
              <a:alpha val="91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54000" bIns="0" numCol="1" spcCol="0" rtlCol="0" fromWordArt="0" anchor="ctr" anchorCtr="0" forceAA="0" compatLnSpc="1">
            <a:prstTxWarp prst="textNoShape">
              <a:avLst/>
            </a:prstTxWarp>
            <a:noAutofit/>
          </a:bodyPr>
          <a:lstStyle/>
          <a:p>
            <a:pPr algn="ctr"/>
            <a:r>
              <a:rPr lang="es-ES" dirty="0">
                <a:solidFill>
                  <a:srgbClr val="575757"/>
                </a:solidFill>
                <a:latin typeface="Trebuchet MS" panose="020B0603020202020204" pitchFamily="34" charset="0"/>
                <a:sym typeface="Trebuchet MS" panose="020B0603020202020204" pitchFamily="34" charset="0"/>
              </a:rPr>
              <a:t>¿Están pensando más allá de la crisis actual</a:t>
            </a:r>
            <a:br>
              <a:rPr lang="es-ES" dirty="0">
                <a:solidFill>
                  <a:srgbClr val="575757"/>
                </a:solidFill>
                <a:latin typeface="Trebuchet MS" panose="020B0603020202020204" pitchFamily="34" charset="0"/>
                <a:sym typeface="Trebuchet MS" panose="020B0603020202020204" pitchFamily="34" charset="0"/>
              </a:rPr>
            </a:br>
            <a:r>
              <a:rPr lang="es-ES" dirty="0">
                <a:solidFill>
                  <a:srgbClr val="575757"/>
                </a:solidFill>
                <a:latin typeface="Trebuchet MS" panose="020B0603020202020204" pitchFamily="34" charset="0"/>
                <a:sym typeface="Trebuchet MS" panose="020B0603020202020204" pitchFamily="34" charset="0"/>
              </a:rPr>
              <a:t>y planificando</a:t>
            </a:r>
            <a:br>
              <a:rPr lang="es-ES" dirty="0">
                <a:solidFill>
                  <a:srgbClr val="575757"/>
                </a:solidFill>
                <a:latin typeface="Trebuchet MS" panose="020B0603020202020204" pitchFamily="34" charset="0"/>
                <a:sym typeface="Trebuchet MS" panose="020B0603020202020204" pitchFamily="34" charset="0"/>
              </a:rPr>
            </a:br>
            <a:r>
              <a:rPr lang="es-ES" dirty="0">
                <a:solidFill>
                  <a:srgbClr val="575757"/>
                </a:solidFill>
                <a:latin typeface="Trebuchet MS" panose="020B0603020202020204" pitchFamily="34" charset="0"/>
                <a:sym typeface="Trebuchet MS" panose="020B0603020202020204" pitchFamily="34" charset="0"/>
              </a:rPr>
              <a:t>cómo aprovechar los conocimientos adquiridos?</a:t>
            </a:r>
          </a:p>
        </p:txBody>
      </p:sp>
      <p:grpSp>
        <p:nvGrpSpPr>
          <p:cNvPr id="35" name="Group 34"/>
          <p:cNvGrpSpPr/>
          <p:nvPr/>
        </p:nvGrpSpPr>
        <p:grpSpPr>
          <a:xfrm>
            <a:off x="543336" y="2253086"/>
            <a:ext cx="4370000" cy="1172877"/>
            <a:chOff x="490449" y="2726750"/>
            <a:chExt cx="4136294" cy="1172877"/>
          </a:xfrm>
        </p:grpSpPr>
        <p:grpSp>
          <p:nvGrpSpPr>
            <p:cNvPr id="19" name="Group 18"/>
            <p:cNvGrpSpPr/>
            <p:nvPr/>
          </p:nvGrpSpPr>
          <p:grpSpPr>
            <a:xfrm>
              <a:off x="490449" y="3345629"/>
              <a:ext cx="4136294" cy="553998"/>
              <a:chOff x="506281" y="3123117"/>
              <a:chExt cx="4136294" cy="553998"/>
            </a:xfrm>
          </p:grpSpPr>
          <p:sp>
            <p:nvSpPr>
              <p:cNvPr id="83" name="TextBox 82"/>
              <p:cNvSpPr txBox="1"/>
              <p:nvPr/>
            </p:nvSpPr>
            <p:spPr>
              <a:xfrm>
                <a:off x="891019" y="3123117"/>
                <a:ext cx="375155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latin typeface="Trebuchet MS" panose="020B0603020202020204" pitchFamily="34" charset="0"/>
                  </a:rPr>
                  <a:t>Intensificar la salud e higiene</a:t>
                </a:r>
                <a:br>
                  <a:rPr lang="es-ES" dirty="0">
                    <a:solidFill>
                      <a:srgbClr val="FFFFFF"/>
                    </a:solidFill>
                    <a:latin typeface="Trebuchet MS" panose="020B0603020202020204" pitchFamily="34" charset="0"/>
                  </a:rPr>
                </a:br>
                <a:r>
                  <a:rPr lang="es-ES" dirty="0">
                    <a:solidFill>
                      <a:srgbClr val="FFFFFF"/>
                    </a:solidFill>
                    <a:latin typeface="Trebuchet MS" panose="020B0603020202020204" pitchFamily="34" charset="0"/>
                  </a:rPr>
                  <a:t>en el trabajo</a:t>
                </a:r>
              </a:p>
            </p:txBody>
          </p:sp>
          <p:sp>
            <p:nvSpPr>
              <p:cNvPr id="84" name="Oval 20"/>
              <p:cNvSpPr>
                <a:spLocks noChangeAspect="1" noChangeArrowheads="1"/>
              </p:cNvSpPr>
              <p:nvPr/>
            </p:nvSpPr>
            <p:spPr bwMode="auto">
              <a:xfrm>
                <a:off x="506281" y="3246677"/>
                <a:ext cx="293550" cy="29355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600" dirty="0">
                    <a:solidFill>
                      <a:schemeClr val="bg1"/>
                    </a:solidFill>
                  </a:rPr>
                  <a:t>2</a:t>
                </a:r>
              </a:p>
            </p:txBody>
          </p:sp>
        </p:grpSp>
        <p:grpSp>
          <p:nvGrpSpPr>
            <p:cNvPr id="32" name="Group 31"/>
            <p:cNvGrpSpPr/>
            <p:nvPr/>
          </p:nvGrpSpPr>
          <p:grpSpPr>
            <a:xfrm>
              <a:off x="490449" y="3071448"/>
              <a:ext cx="3752036" cy="293550"/>
              <a:chOff x="506281" y="2714916"/>
              <a:chExt cx="3752036" cy="293550"/>
            </a:xfrm>
          </p:grpSpPr>
          <p:sp>
            <p:nvSpPr>
              <p:cNvPr id="85" name="TextBox 84"/>
              <p:cNvSpPr txBox="1"/>
              <p:nvPr/>
            </p:nvSpPr>
            <p:spPr>
              <a:xfrm>
                <a:off x="891018" y="2724802"/>
                <a:ext cx="336729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rPr>
                  <a:t>Potenciar el "Smart </a:t>
                </a:r>
                <a:r>
                  <a:rPr lang="es-ES" dirty="0" err="1">
                    <a:solidFill>
                      <a:srgbClr val="FFFFFF"/>
                    </a:solidFill>
                  </a:rPr>
                  <a:t>work</a:t>
                </a:r>
                <a:r>
                  <a:rPr lang="es-ES" dirty="0">
                    <a:solidFill>
                      <a:srgbClr val="FFFFFF"/>
                    </a:solidFill>
                  </a:rPr>
                  <a:t>"</a:t>
                </a:r>
              </a:p>
            </p:txBody>
          </p:sp>
          <p:sp>
            <p:nvSpPr>
              <p:cNvPr id="86" name="Oval 20"/>
              <p:cNvSpPr>
                <a:spLocks noChangeAspect="1" noChangeArrowheads="1"/>
              </p:cNvSpPr>
              <p:nvPr/>
            </p:nvSpPr>
            <p:spPr bwMode="auto">
              <a:xfrm>
                <a:off x="506281" y="2714916"/>
                <a:ext cx="293550" cy="293550"/>
              </a:xfrm>
              <a:prstGeom prst="ellipse">
                <a:avLst/>
              </a:prstGeom>
              <a:solidFill>
                <a:srgbClr val="6E6F73"/>
              </a:solidFill>
              <a:ln>
                <a:noFill/>
              </a:ln>
            </p:spPr>
            <p:txBody>
              <a:bodyPr vert="horz" wrap="square" lIns="0" tIns="0" rIns="0" bIns="0" numCol="1" anchor="ctr" anchorCtr="0" compatLnSpc="1">
                <a:prstTxWarp prst="textNoShape">
                  <a:avLst/>
                </a:prstTxWarp>
              </a:bodyPr>
              <a:lstStyle/>
              <a:p>
                <a:pPr algn="ctr"/>
                <a:r>
                  <a:rPr lang="es-ES" sz="1600" dirty="0">
                    <a:solidFill>
                      <a:schemeClr val="bg1"/>
                    </a:solidFill>
                  </a:rPr>
                  <a:t>1</a:t>
                </a:r>
              </a:p>
            </p:txBody>
          </p:sp>
        </p:grpSp>
        <p:sp>
          <p:nvSpPr>
            <p:cNvPr id="90" name="TextBox 89"/>
            <p:cNvSpPr txBox="1"/>
            <p:nvPr/>
          </p:nvSpPr>
          <p:spPr>
            <a:xfrm>
              <a:off x="561528" y="2726750"/>
              <a:ext cx="609944" cy="307777"/>
            </a:xfrm>
            <a:prstGeom prst="rect">
              <a:avLst/>
            </a:prstGeom>
            <a:noFill/>
            <a:extLst>
              <a:ext uri="{909E8E84-426E-40DD-AFC4-6F175D3DCCD1}">
                <a14:hiddenFill xmlns:a14="http://schemas.microsoft.com/office/drawing/2010/main">
                  <a:solidFill>
                    <a:srgbClr val="F2F2F2"/>
                  </a:solidFill>
                </a14:hiddenFill>
              </a:ext>
            </a:extLst>
          </p:spPr>
          <p:txBody>
            <a:bodyPr wrap="none" lIns="0" tIns="0" rIns="0" bIns="0" rtlCol="0" anchor="ctr" anchorCtr="0">
              <a:spAutoFit/>
            </a:bodyPr>
            <a:lstStyle/>
            <a:p>
              <a:pPr>
                <a:buSzPct val="100000"/>
                <a:buFont typeface="Trebuchet MS" panose="020B0603020202020204" pitchFamily="34" charset="0"/>
                <a:buChar char="​"/>
              </a:pPr>
              <a:r>
                <a:rPr lang="es-ES" sz="2000" b="1" dirty="0">
                  <a:solidFill>
                    <a:srgbClr val="FFFFFF"/>
                  </a:solidFill>
                  <a:latin typeface="Trebuchet MS" panose="020B0603020202020204" pitchFamily="34" charset="0"/>
                  <a:cs typeface="Arial" panose="020B0604020202020204" pitchFamily="34" charset="0"/>
                </a:rPr>
                <a:t>Salud</a:t>
              </a:r>
            </a:p>
          </p:txBody>
        </p:sp>
      </p:grpSp>
      <p:grpSp>
        <p:nvGrpSpPr>
          <p:cNvPr id="36" name="Group 35"/>
          <p:cNvGrpSpPr/>
          <p:nvPr/>
        </p:nvGrpSpPr>
        <p:grpSpPr>
          <a:xfrm>
            <a:off x="559168" y="3487345"/>
            <a:ext cx="4899288" cy="1101288"/>
            <a:chOff x="506281" y="3922832"/>
            <a:chExt cx="4899288" cy="1101288"/>
          </a:xfrm>
        </p:grpSpPr>
        <p:grpSp>
          <p:nvGrpSpPr>
            <p:cNvPr id="16" name="Group 15"/>
            <p:cNvGrpSpPr/>
            <p:nvPr/>
          </p:nvGrpSpPr>
          <p:grpSpPr>
            <a:xfrm>
              <a:off x="506281" y="4332829"/>
              <a:ext cx="4899288" cy="293550"/>
              <a:chOff x="506281" y="4395422"/>
              <a:chExt cx="4899288" cy="293550"/>
            </a:xfrm>
          </p:grpSpPr>
          <p:sp>
            <p:nvSpPr>
              <p:cNvPr id="57" name="Oval 20"/>
              <p:cNvSpPr>
                <a:spLocks noChangeAspect="1" noChangeArrowheads="1"/>
              </p:cNvSpPr>
              <p:nvPr/>
            </p:nvSpPr>
            <p:spPr bwMode="auto">
              <a:xfrm>
                <a:off x="506281" y="4395422"/>
                <a:ext cx="293550" cy="29355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60" dirty="0">
                    <a:solidFill>
                      <a:schemeClr val="bg1"/>
                    </a:solidFill>
                  </a:rPr>
                  <a:t>3</a:t>
                </a:r>
              </a:p>
            </p:txBody>
          </p:sp>
          <p:sp>
            <p:nvSpPr>
              <p:cNvPr id="64" name="TextBox 63"/>
              <p:cNvSpPr txBox="1"/>
              <p:nvPr/>
            </p:nvSpPr>
            <p:spPr>
              <a:xfrm>
                <a:off x="891019" y="4405308"/>
                <a:ext cx="451455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rPr>
                  <a:t>Mitigar el riesgo de las personas</a:t>
                </a:r>
              </a:p>
            </p:txBody>
          </p:sp>
        </p:grpSp>
        <p:grpSp>
          <p:nvGrpSpPr>
            <p:cNvPr id="9" name="Group 8"/>
            <p:cNvGrpSpPr/>
            <p:nvPr/>
          </p:nvGrpSpPr>
          <p:grpSpPr>
            <a:xfrm>
              <a:off x="506281" y="4730570"/>
              <a:ext cx="4401254" cy="293550"/>
              <a:chOff x="506281" y="4950633"/>
              <a:chExt cx="4401254" cy="293550"/>
            </a:xfrm>
          </p:grpSpPr>
          <p:sp>
            <p:nvSpPr>
              <p:cNvPr id="68" name="TextBox 67"/>
              <p:cNvSpPr txBox="1"/>
              <p:nvPr/>
            </p:nvSpPr>
            <p:spPr>
              <a:xfrm>
                <a:off x="891019" y="4960519"/>
                <a:ext cx="401651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rPr>
                  <a:t>Gestionar la flexibilidad de la plantilla</a:t>
                </a:r>
              </a:p>
            </p:txBody>
          </p:sp>
          <p:sp>
            <p:nvSpPr>
              <p:cNvPr id="72" name="Oval 20"/>
              <p:cNvSpPr>
                <a:spLocks noChangeAspect="1" noChangeArrowheads="1"/>
              </p:cNvSpPr>
              <p:nvPr/>
            </p:nvSpPr>
            <p:spPr bwMode="auto">
              <a:xfrm>
                <a:off x="506281" y="4950633"/>
                <a:ext cx="293550" cy="29355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s-ES" sz="1360" dirty="0">
                    <a:solidFill>
                      <a:schemeClr val="bg1"/>
                    </a:solidFill>
                  </a:rPr>
                  <a:t>4</a:t>
                </a:r>
              </a:p>
            </p:txBody>
          </p:sp>
        </p:grpSp>
        <p:sp>
          <p:nvSpPr>
            <p:cNvPr id="91" name="TextBox 90"/>
            <p:cNvSpPr txBox="1"/>
            <p:nvPr/>
          </p:nvSpPr>
          <p:spPr>
            <a:xfrm>
              <a:off x="561528" y="3922832"/>
              <a:ext cx="977832" cy="307777"/>
            </a:xfrm>
            <a:prstGeom prst="rect">
              <a:avLst/>
            </a:prstGeom>
            <a:noFill/>
            <a:extLst>
              <a:ext uri="{909E8E84-426E-40DD-AFC4-6F175D3DCCD1}">
                <a14:hiddenFill xmlns:a14="http://schemas.microsoft.com/office/drawing/2010/main">
                  <a:solidFill>
                    <a:srgbClr val="F2F2F2"/>
                  </a:solidFill>
                </a14:hiddenFill>
              </a:ext>
            </a:extLst>
          </p:spPr>
          <p:txBody>
            <a:bodyPr wrap="none" lIns="0" tIns="0" rIns="0" bIns="0" rtlCol="0" anchor="ctr" anchorCtr="0">
              <a:spAutoFit/>
            </a:bodyPr>
            <a:lstStyle/>
            <a:p>
              <a:pPr>
                <a:buSzPct val="100000"/>
                <a:buFont typeface="Trebuchet MS" panose="020B0603020202020204" pitchFamily="34" charset="0"/>
                <a:buChar char="​"/>
              </a:pPr>
              <a:r>
                <a:rPr lang="es-ES" sz="2000" b="1" dirty="0">
                  <a:solidFill>
                    <a:srgbClr val="FFFFFF"/>
                  </a:solidFill>
                  <a:latin typeface="Trebuchet MS" panose="020B0603020202020204" pitchFamily="34" charset="0"/>
                  <a:cs typeface="Arial" panose="020B0604020202020204" pitchFamily="34" charset="0"/>
                </a:rPr>
                <a:t>Plantilla</a:t>
              </a:r>
            </a:p>
          </p:txBody>
        </p:sp>
      </p:grpSp>
      <p:grpSp>
        <p:nvGrpSpPr>
          <p:cNvPr id="37" name="Group 36"/>
          <p:cNvGrpSpPr/>
          <p:nvPr/>
        </p:nvGrpSpPr>
        <p:grpSpPr>
          <a:xfrm>
            <a:off x="559168" y="4786902"/>
            <a:ext cx="4120462" cy="1098440"/>
            <a:chOff x="506281" y="5260566"/>
            <a:chExt cx="4120462" cy="1098440"/>
          </a:xfrm>
        </p:grpSpPr>
        <p:grpSp>
          <p:nvGrpSpPr>
            <p:cNvPr id="5" name="Group 4"/>
            <p:cNvGrpSpPr/>
            <p:nvPr/>
          </p:nvGrpSpPr>
          <p:grpSpPr>
            <a:xfrm>
              <a:off x="506281" y="6055044"/>
              <a:ext cx="3341820" cy="303962"/>
              <a:chOff x="506281" y="6710062"/>
              <a:chExt cx="3341820" cy="303962"/>
            </a:xfrm>
          </p:grpSpPr>
          <p:sp>
            <p:nvSpPr>
              <p:cNvPr id="76" name="Oval 75"/>
              <p:cNvSpPr>
                <a:spLocks noChangeAspect="1" noChangeArrowheads="1"/>
              </p:cNvSpPr>
              <p:nvPr/>
            </p:nvSpPr>
            <p:spPr bwMode="auto">
              <a:xfrm>
                <a:off x="506281" y="6710062"/>
                <a:ext cx="293550" cy="293550"/>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60" dirty="0">
                    <a:solidFill>
                      <a:schemeClr val="bg1"/>
                    </a:solidFill>
                  </a:rPr>
                  <a:t>6</a:t>
                </a:r>
              </a:p>
            </p:txBody>
          </p:sp>
          <p:sp>
            <p:nvSpPr>
              <p:cNvPr id="80" name="TextBox 79"/>
              <p:cNvSpPr txBox="1"/>
              <p:nvPr/>
            </p:nvSpPr>
            <p:spPr>
              <a:xfrm>
                <a:off x="891019" y="6733803"/>
                <a:ext cx="2957082" cy="280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rPr>
                  <a:t>Permanecer unidos</a:t>
                </a:r>
              </a:p>
            </p:txBody>
          </p:sp>
        </p:grpSp>
        <p:grpSp>
          <p:nvGrpSpPr>
            <p:cNvPr id="7" name="Group 6"/>
            <p:cNvGrpSpPr/>
            <p:nvPr/>
          </p:nvGrpSpPr>
          <p:grpSpPr>
            <a:xfrm>
              <a:off x="506281" y="5624552"/>
              <a:ext cx="4120462" cy="293550"/>
              <a:chOff x="506281" y="6170317"/>
              <a:chExt cx="4120462" cy="293550"/>
            </a:xfrm>
          </p:grpSpPr>
          <p:sp>
            <p:nvSpPr>
              <p:cNvPr id="81" name="Oval 20"/>
              <p:cNvSpPr>
                <a:spLocks noChangeAspect="1" noChangeArrowheads="1"/>
              </p:cNvSpPr>
              <p:nvPr/>
            </p:nvSpPr>
            <p:spPr bwMode="auto">
              <a:xfrm>
                <a:off x="506281" y="6170317"/>
                <a:ext cx="293550" cy="293550"/>
              </a:xfrm>
              <a:prstGeom prst="ellipse">
                <a:avLst/>
              </a:prstGeom>
              <a:solidFill>
                <a:srgbClr val="3EAD92"/>
              </a:solidFill>
              <a:ln>
                <a:noFill/>
              </a:ln>
            </p:spPr>
            <p:txBody>
              <a:bodyPr vert="horz" wrap="square" lIns="0" tIns="0" rIns="0" bIns="0" numCol="1" anchor="ctr" anchorCtr="0" compatLnSpc="1">
                <a:prstTxWarp prst="textNoShape">
                  <a:avLst/>
                </a:prstTxWarp>
              </a:bodyPr>
              <a:lstStyle/>
              <a:p>
                <a:pPr algn="ctr"/>
                <a:r>
                  <a:rPr lang="es-ES" sz="1360" dirty="0">
                    <a:solidFill>
                      <a:schemeClr val="bg1"/>
                    </a:solidFill>
                  </a:rPr>
                  <a:t>5</a:t>
                </a:r>
              </a:p>
            </p:txBody>
          </p:sp>
          <p:sp>
            <p:nvSpPr>
              <p:cNvPr id="82" name="TextBox 81"/>
              <p:cNvSpPr txBox="1"/>
              <p:nvPr/>
            </p:nvSpPr>
            <p:spPr>
              <a:xfrm>
                <a:off x="891019" y="6180203"/>
                <a:ext cx="373572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s-ES" dirty="0">
                    <a:solidFill>
                      <a:srgbClr val="FFFFFF"/>
                    </a:solidFill>
                  </a:rPr>
                  <a:t>Comunicarse con claridad y empatía</a:t>
                </a:r>
              </a:p>
            </p:txBody>
          </p:sp>
        </p:grpSp>
        <p:sp>
          <p:nvSpPr>
            <p:cNvPr id="92" name="TextBox 91"/>
            <p:cNvSpPr txBox="1"/>
            <p:nvPr/>
          </p:nvSpPr>
          <p:spPr>
            <a:xfrm>
              <a:off x="561528" y="5260566"/>
              <a:ext cx="875240" cy="307777"/>
            </a:xfrm>
            <a:prstGeom prst="rect">
              <a:avLst/>
            </a:prstGeom>
            <a:noFill/>
            <a:extLst>
              <a:ext uri="{909E8E84-426E-40DD-AFC4-6F175D3DCCD1}">
                <a14:hiddenFill xmlns:a14="http://schemas.microsoft.com/office/drawing/2010/main">
                  <a:solidFill>
                    <a:srgbClr val="F2F2F2"/>
                  </a:solidFill>
                </a14:hiddenFill>
              </a:ext>
            </a:extLst>
          </p:spPr>
          <p:txBody>
            <a:bodyPr wrap="none" lIns="0" tIns="0" rIns="0" bIns="0" rtlCol="0" anchor="ctr" anchorCtr="0">
              <a:spAutoFit/>
            </a:bodyPr>
            <a:lstStyle/>
            <a:p>
              <a:pPr>
                <a:buSzPct val="100000"/>
                <a:buFont typeface="Trebuchet MS" panose="020B0603020202020204" pitchFamily="34" charset="0"/>
                <a:buChar char="​"/>
              </a:pPr>
              <a:r>
                <a:rPr lang="es-ES" sz="2000" b="1" dirty="0">
                  <a:solidFill>
                    <a:srgbClr val="FFFFFF"/>
                  </a:solidFill>
                  <a:latin typeface="Trebuchet MS" panose="020B0603020202020204" pitchFamily="34" charset="0"/>
                  <a:cs typeface="Arial" panose="020B0604020202020204" pitchFamily="34" charset="0"/>
                </a:rPr>
                <a:t>Cultura</a:t>
              </a:r>
            </a:p>
          </p:txBody>
        </p:sp>
      </p:grpSp>
      <p:sp>
        <p:nvSpPr>
          <p:cNvPr id="38" name="Oval 20"/>
          <p:cNvSpPr>
            <a:spLocks noChangeAspect="1" noChangeArrowheads="1"/>
          </p:cNvSpPr>
          <p:nvPr/>
        </p:nvSpPr>
        <p:spPr bwMode="auto">
          <a:xfrm>
            <a:off x="563764" y="6012317"/>
            <a:ext cx="293550" cy="293550"/>
          </a:xfrm>
          <a:prstGeom prst="ellipse">
            <a:avLst/>
          </a:prstGeom>
          <a:solidFill>
            <a:srgbClr val="197A56"/>
          </a:solidFill>
          <a:ln>
            <a:noFill/>
          </a:ln>
        </p:spPr>
        <p:txBody>
          <a:bodyPr vert="horz" wrap="square" lIns="0" tIns="0" rIns="0" bIns="0" numCol="1" anchor="ctr" anchorCtr="0" compatLnSpc="1">
            <a:prstTxWarp prst="textNoShape">
              <a:avLst/>
            </a:prstTxWarp>
          </a:bodyPr>
          <a:lstStyle/>
          <a:p>
            <a:pPr algn="ctr"/>
            <a:r>
              <a:rPr lang="es-ES" sz="1360" dirty="0">
                <a:solidFill>
                  <a:schemeClr val="bg1"/>
                </a:solidFill>
              </a:rPr>
              <a:t>7</a:t>
            </a:r>
          </a:p>
        </p:txBody>
      </p:sp>
      <p:sp>
        <p:nvSpPr>
          <p:cNvPr id="39" name="TextBox 38"/>
          <p:cNvSpPr txBox="1"/>
          <p:nvPr/>
        </p:nvSpPr>
        <p:spPr>
          <a:xfrm>
            <a:off x="928073" y="6018568"/>
            <a:ext cx="323525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a:solidFill>
                  <a:srgbClr val="FFFFFF"/>
                </a:solidFill>
              </a:defRPr>
            </a:lvl1pPr>
          </a:lstStyle>
          <a:p>
            <a:r>
              <a:rPr lang="es-ES" dirty="0"/>
              <a:t>Acelerar la digitalización</a:t>
            </a:r>
          </a:p>
        </p:txBody>
      </p:sp>
      <p:sp>
        <p:nvSpPr>
          <p:cNvPr id="43"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s-ES" sz="700" dirty="0">
                <a:solidFill>
                  <a:srgbClr val="FFFFFF"/>
                </a:solidFill>
                <a:latin typeface="+mn-lt"/>
                <a:sym typeface="Trebuchet MS" panose="020B0603020202020204" pitchFamily="34" charset="0"/>
              </a:rPr>
              <a:t>Copyright © 2020 por Boston Consulting Group. Todos los derechos reservados.</a:t>
            </a:r>
          </a:p>
        </p:txBody>
      </p:sp>
      <p:sp>
        <p:nvSpPr>
          <p:cNvPr id="44" name="ee4pFootnotes"/>
          <p:cNvSpPr>
            <a:spLocks noChangeArrowheads="1"/>
          </p:cNvSpPr>
          <p:nvPr/>
        </p:nvSpPr>
        <p:spPr bwMode="auto">
          <a:xfrm>
            <a:off x="630000" y="6563942"/>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s-ES" sz="1000" dirty="0">
                <a:solidFill>
                  <a:srgbClr val="FFFFFF"/>
                </a:solidFill>
                <a:latin typeface="Trebuchet MS" panose="020B0603020202020204" pitchFamily="34" charset="0"/>
                <a:cs typeface="Arial" pitchFamily="34" charset="0"/>
              </a:rPr>
              <a:t>Fuente: BCG</a:t>
            </a:r>
          </a:p>
        </p:txBody>
      </p:sp>
    </p:spTree>
    <p:extLst>
      <p:ext uri="{BB962C8B-B14F-4D97-AF65-F5344CB8AC3E}">
        <p14:creationId xmlns:p14="http://schemas.microsoft.com/office/powerpoint/2010/main" val="373746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14="http://schemas.microsoft.com/office/drawing/2010/main" xmlns:v="urn:schemas-microsoft-com:vml"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276650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9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44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 name="Picture Placeholder 1"/>
          <p:cNvPicPr>
            <a:picLocks noGrp="1" noChangeAspect="1"/>
          </p:cNvPicPr>
          <p:nvPr>
            <p:ph type="pic" sz="quarter" idx="14"/>
          </p:nvPr>
        </p:nvPicPr>
        <p:blipFill>
          <a:blip r:embed="rId9">
            <a:extLst>
              <a:ext uri="{28A0092B-C50C-407E-A947-70E740481C1C}">
                <a14:useLocalDpi xmlns:a14="http://schemas.microsoft.com/office/drawing/2010/main" val="0"/>
              </a:ext>
            </a:extLst>
          </a:blip>
          <a:srcRect l="20347" r="20347"/>
          <a:stretch>
            <a:fillRect/>
          </a:stretch>
        </p:blipFill>
        <p:spPr/>
      </p:pic>
      <p:sp>
        <p:nvSpPr>
          <p:cNvPr id="4" name="Title 3"/>
          <p:cNvSpPr>
            <a:spLocks noGrp="1"/>
          </p:cNvSpPr>
          <p:nvPr>
            <p:ph type="title"/>
          </p:nvPr>
        </p:nvSpPr>
        <p:spPr>
          <a:xfrm>
            <a:off x="298383" y="1785600"/>
            <a:ext cx="5274644" cy="3286800"/>
          </a:xfrm>
        </p:spPr>
        <p:txBody>
          <a:bodyPr/>
          <a:lstStyle/>
          <a:p>
            <a:r>
              <a:rPr lang="es-CL" dirty="0">
                <a:solidFill>
                  <a:srgbClr val="D4DF33"/>
                </a:solidFill>
              </a:rPr>
              <a:t>El futuro es aún incierto:</a:t>
            </a:r>
            <a:r>
              <a:rPr lang="es-CL" dirty="0"/>
              <a:t/>
            </a:r>
            <a:br>
              <a:rPr lang="es-CL" dirty="0"/>
            </a:br>
            <a:r>
              <a:rPr lang="es-CL" dirty="0"/>
              <a:t>Debemos estar preparados para distintos escenarios </a:t>
            </a:r>
          </a:p>
        </p:txBody>
      </p:sp>
    </p:spTree>
    <p:custDataLst>
      <p:tags r:id="rId2"/>
    </p:custDataLst>
    <p:extLst>
      <p:ext uri="{BB962C8B-B14F-4D97-AF65-F5344CB8AC3E}">
        <p14:creationId xmlns:p14="http://schemas.microsoft.com/office/powerpoint/2010/main" val="932905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02767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s-CL" dirty="0"/>
              <a:t>Presentadores de hoy</a:t>
            </a:r>
          </a:p>
        </p:txBody>
      </p:sp>
      <p:sp>
        <p:nvSpPr>
          <p:cNvPr id="85" name="ColumnHeader"/>
          <p:cNvSpPr>
            <a:spLocks noChangeArrowheads="1"/>
          </p:cNvSpPr>
          <p:nvPr/>
        </p:nvSpPr>
        <p:spPr bwMode="gray">
          <a:xfrm>
            <a:off x="508000" y="3677721"/>
            <a:ext cx="5679440" cy="2893100"/>
          </a:xfrm>
          <a:prstGeom prst="rect">
            <a:avLst/>
          </a:prstGeom>
        </p:spPr>
        <p:txBody>
          <a:bodyPr wrap="square" lIns="0" tIns="0" rIns="0" bIns="0" anchor="t" anchorCtr="0">
            <a:spAutoFit/>
          </a:bodyPr>
          <a:lstStyle/>
          <a:p>
            <a:pPr algn="ctr">
              <a:buSzPct val="100000"/>
              <a:buFont typeface="Trebuchet MS" panose="020B0603020202020204" pitchFamily="34" charset="0"/>
              <a:buChar char="​"/>
            </a:pPr>
            <a:r>
              <a:rPr lang="en-US" b="1" noProof="1">
                <a:solidFill>
                  <a:srgbClr val="29BA74"/>
                </a:solidFill>
                <a:latin typeface="Trebuchet MS" panose="020B0603020202020204" pitchFamily="34" charset="0"/>
                <a:cs typeface="Arial" panose="020B0604020202020204" pitchFamily="34" charset="0"/>
              </a:rPr>
              <a:t>Jorge Becerra</a:t>
            </a:r>
          </a:p>
          <a:p>
            <a:pPr algn="ctr">
              <a:buSzPct val="100000"/>
              <a:buFont typeface="Trebuchet MS" panose="020B0603020202020204" pitchFamily="34" charset="0"/>
              <a:buChar char="​"/>
            </a:pPr>
            <a:r>
              <a:rPr lang="en-US" sz="1600" noProof="1">
                <a:solidFill>
                  <a:srgbClr val="7F7F7F"/>
                </a:solidFill>
                <a:latin typeface="Trebuchet MS" panose="020B0603020202020204" pitchFamily="34" charset="0"/>
                <a:cs typeface="Arial" panose="020B0604020202020204" pitchFamily="34" charset="0"/>
              </a:rPr>
              <a:t>Emeritus Senior Partner &amp; Senior Advisor</a:t>
            </a:r>
            <a:endParaRPr lang="en-US" sz="1600" noProof="1">
              <a:solidFill>
                <a:srgbClr val="575757"/>
              </a:solidFill>
              <a:latin typeface="Trebuchet MS" panose="020B0603020202020204" pitchFamily="34" charset="0"/>
              <a:cs typeface="Arial" panose="020B0604020202020204" pitchFamily="34" charset="0"/>
            </a:endParaRPr>
          </a:p>
          <a:p>
            <a:pPr algn="ctr">
              <a:buSzPct val="100000"/>
              <a:buFont typeface="Trebuchet MS" panose="020B0603020202020204" pitchFamily="34" charset="0"/>
              <a:buChar char="​"/>
            </a:pPr>
            <a:endParaRPr lang="es-ES" sz="1600" noProof="1" smtClean="0">
              <a:solidFill>
                <a:srgbClr val="575757"/>
              </a:solidFill>
              <a:latin typeface="Trebuchet MS" panose="020B0603020202020204" pitchFamily="34" charset="0"/>
              <a:cs typeface="Arial" panose="020B0604020202020204" pitchFamily="34" charset="0"/>
            </a:endParaRPr>
          </a:p>
          <a:p>
            <a:pPr algn="ctr">
              <a:spcBef>
                <a:spcPct val="0"/>
              </a:spcBef>
            </a:pPr>
            <a:r>
              <a:rPr lang="es-ES" sz="1600" dirty="0" smtClean="0"/>
              <a:t>Ha sido el responsable de la Práctica de Servicios Financieros y de Personas y Organización en Sud América, desde que abrió la primera oficina de BCG en la región en 1995. Desde entonces fundó las oficinas en Buenos Aires, Sao Paulo, Santiago, Miami  y apoyó también activamente el desarrollo de las oficinas de Bogotá y Lima.</a:t>
            </a:r>
          </a:p>
          <a:p>
            <a:pPr>
              <a:spcBef>
                <a:spcPct val="0"/>
              </a:spcBef>
            </a:pPr>
            <a:endParaRPr lang="en-US" dirty="0"/>
          </a:p>
          <a:p>
            <a:pPr algn="ctr">
              <a:buSzPct val="100000"/>
            </a:pPr>
            <a:endParaRPr lang="es-CL" sz="2400" noProof="1">
              <a:solidFill>
                <a:srgbClr val="575757"/>
              </a:solidFill>
              <a:latin typeface="Trebuchet MS" panose="020B0603020202020204" pitchFamily="34" charset="0"/>
              <a:cs typeface="Arial" panose="020B0604020202020204" pitchFamily="34" charset="0"/>
            </a:endParaRPr>
          </a:p>
        </p:txBody>
      </p:sp>
      <p:sp>
        <p:nvSpPr>
          <p:cNvPr id="86" name="ColumnHeader"/>
          <p:cNvSpPr>
            <a:spLocks noChangeArrowheads="1"/>
          </p:cNvSpPr>
          <p:nvPr/>
        </p:nvSpPr>
        <p:spPr bwMode="gray">
          <a:xfrm>
            <a:off x="6564467" y="3677721"/>
            <a:ext cx="4166350" cy="2246769"/>
          </a:xfrm>
          <a:prstGeom prst="rect">
            <a:avLst/>
          </a:prstGeom>
        </p:spPr>
        <p:txBody>
          <a:bodyPr wrap="square" lIns="0" tIns="0" rIns="0" bIns="0" anchor="t" anchorCtr="0">
            <a:spAutoFit/>
          </a:bodyPr>
          <a:lstStyle/>
          <a:p>
            <a:pPr algn="ctr">
              <a:buSzPct val="100000"/>
              <a:buFont typeface="Trebuchet MS" panose="020B0603020202020204" pitchFamily="34" charset="0"/>
              <a:buChar char="​"/>
            </a:pPr>
            <a:r>
              <a:rPr lang="en-US" b="1" dirty="0">
                <a:solidFill>
                  <a:srgbClr val="29BA74"/>
                </a:solidFill>
              </a:rPr>
              <a:t>Pablo </a:t>
            </a:r>
            <a:r>
              <a:rPr lang="en-US" b="1" dirty="0" err="1">
                <a:solidFill>
                  <a:srgbClr val="29BA74"/>
                </a:solidFill>
              </a:rPr>
              <a:t>Claver</a:t>
            </a:r>
            <a:endParaRPr lang="en-US" b="1" noProof="1">
              <a:solidFill>
                <a:srgbClr val="29BA74"/>
              </a:solidFill>
              <a:latin typeface="Trebuchet MS" panose="020B0603020202020204" pitchFamily="34" charset="0"/>
              <a:cs typeface="Arial" panose="020B0604020202020204" pitchFamily="34" charset="0"/>
            </a:endParaRPr>
          </a:p>
          <a:p>
            <a:pPr algn="ctr">
              <a:buSzPct val="100000"/>
              <a:buFont typeface="Trebuchet MS" panose="020B0603020202020204" pitchFamily="34" charset="0"/>
              <a:buChar char="​"/>
            </a:pPr>
            <a:r>
              <a:rPr lang="en-US" sz="1600" noProof="1">
                <a:solidFill>
                  <a:srgbClr val="7F7F7F"/>
                </a:solidFill>
                <a:latin typeface="Trebuchet MS" panose="020B0603020202020204" pitchFamily="34" charset="0"/>
                <a:cs typeface="Arial" panose="020B0604020202020204" pitchFamily="34" charset="0"/>
              </a:rPr>
              <a:t>Managing Director &amp; Partner, Madrid</a:t>
            </a:r>
          </a:p>
          <a:p>
            <a:pPr algn="ctr">
              <a:buSzPct val="100000"/>
              <a:buFont typeface="Trebuchet MS" panose="020B0603020202020204" pitchFamily="34" charset="0"/>
              <a:buChar char="​"/>
            </a:pPr>
            <a:endParaRPr lang="es-ES" sz="1600" noProof="1" smtClean="0">
              <a:solidFill>
                <a:srgbClr val="575757"/>
              </a:solidFill>
              <a:latin typeface="Trebuchet MS" panose="020B0603020202020204" pitchFamily="34" charset="0"/>
              <a:cs typeface="Arial" panose="020B0604020202020204" pitchFamily="34" charset="0"/>
            </a:endParaRPr>
          </a:p>
          <a:p>
            <a:pPr algn="ctr">
              <a:buSzPct val="100000"/>
              <a:buFont typeface="Trebuchet MS" panose="020B0603020202020204" pitchFamily="34" charset="0"/>
              <a:buChar char="​"/>
            </a:pPr>
            <a:r>
              <a:rPr lang="es-ES" sz="1600" noProof="1" smtClean="0">
                <a:solidFill>
                  <a:srgbClr val="575757"/>
                </a:solidFill>
                <a:latin typeface="Trebuchet MS" panose="020B0603020202020204" pitchFamily="34" charset="0"/>
                <a:cs typeface="Arial" panose="020B0604020202020204" pitchFamily="34" charset="0"/>
              </a:rPr>
              <a:t>Es responsable de la Práctica de Personas </a:t>
            </a:r>
            <a:br>
              <a:rPr lang="es-ES" sz="1600" noProof="1" smtClean="0">
                <a:solidFill>
                  <a:srgbClr val="575757"/>
                </a:solidFill>
                <a:latin typeface="Trebuchet MS" panose="020B0603020202020204" pitchFamily="34" charset="0"/>
                <a:cs typeface="Arial" panose="020B0604020202020204" pitchFamily="34" charset="0"/>
              </a:rPr>
            </a:br>
            <a:r>
              <a:rPr lang="es-ES" sz="1600" noProof="1" smtClean="0">
                <a:solidFill>
                  <a:srgbClr val="575757"/>
                </a:solidFill>
                <a:latin typeface="Trebuchet MS" panose="020B0603020202020204" pitchFamily="34" charset="0"/>
                <a:cs typeface="Arial" panose="020B0604020202020204" pitchFamily="34" charset="0"/>
              </a:rPr>
              <a:t>y Organización y del tópico de gobierno corporativo en Iberia. Está muy cercando a grandes organzaciones en España en sus esfuerzos de respuesta al COVID y trabaja activamente en Sud América</a:t>
            </a:r>
            <a:endParaRPr lang="es-ES" sz="1600" noProof="1">
              <a:solidFill>
                <a:srgbClr val="575757"/>
              </a:solidFill>
              <a:latin typeface="Trebuchet MS" panose="020B0603020202020204" pitchFamily="34" charset="0"/>
              <a:cs typeface="Arial" panose="020B0604020202020204" pitchFamily="34" charset="0"/>
            </a:endParaRPr>
          </a:p>
        </p:txBody>
      </p:sp>
      <p:pic>
        <p:nvPicPr>
          <p:cNvPr id="93" name="Picture 92"/>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775735" y="1692044"/>
            <a:ext cx="1766330" cy="1766330"/>
          </a:xfrm>
          <a:prstGeom prst="ellipse">
            <a:avLst/>
          </a:prstGeom>
          <a:grpFill/>
          <a:ln w="38100">
            <a:gradFill flip="none" rotWithShape="1">
              <a:gsLst>
                <a:gs pos="0">
                  <a:schemeClr val="accent2"/>
                </a:gs>
                <a:gs pos="100000">
                  <a:schemeClr val="tx2"/>
                </a:gs>
              </a:gsLst>
              <a:lin ang="2700000" scaled="1"/>
              <a:tileRect/>
            </a:gradFill>
          </a:ln>
        </p:spPr>
      </p:pic>
      <p:pic>
        <p:nvPicPr>
          <p:cNvPr id="90" name="Picture 89"/>
          <p:cNvPicPr>
            <a:picLocks noChangeAspect="1"/>
          </p:cNvPicPr>
          <p:nvPr/>
        </p:nvPicPr>
        <p:blipFill rotWithShape="1">
          <a:blip r:embed="rId9">
            <a:extLst>
              <a:ext uri="{28A0092B-C50C-407E-A947-70E740481C1C}">
                <a14:useLocalDpi xmlns:a14="http://schemas.microsoft.com/office/drawing/2010/main" val="0"/>
              </a:ext>
            </a:extLst>
          </a:blip>
          <a:srcRect l="2210" r="2210"/>
          <a:stretch/>
        </p:blipFill>
        <p:spPr>
          <a:xfrm>
            <a:off x="2578698" y="1679496"/>
            <a:ext cx="1700784" cy="1700784"/>
          </a:xfrm>
          <a:prstGeom prst="ellipse">
            <a:avLst/>
          </a:prstGeom>
          <a:grpFill/>
          <a:ln w="38100">
            <a:gradFill flip="none" rotWithShape="1">
              <a:gsLst>
                <a:gs pos="0">
                  <a:schemeClr val="accent2"/>
                </a:gs>
                <a:gs pos="100000">
                  <a:schemeClr val="tx2"/>
                </a:gs>
              </a:gsLst>
              <a:lin ang="2700000" scaled="1"/>
              <a:tileRect/>
            </a:gradFill>
          </a:ln>
        </p:spPr>
      </p:pic>
    </p:spTree>
    <p:extLst>
      <p:ext uri="{BB962C8B-B14F-4D97-AF65-F5344CB8AC3E}">
        <p14:creationId xmlns:p14="http://schemas.microsoft.com/office/powerpoint/2010/main" val="11538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14"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1104800" cy="886397"/>
          </a:xfrm>
        </p:spPr>
        <p:txBody>
          <a:bodyPr/>
          <a:lstStyle/>
          <a:p>
            <a:r>
              <a:rPr lang="es-ES" sz="3200" dirty="0"/>
              <a:t>Tres horizontes de tiempo para manejar la crisis dentro </a:t>
            </a:r>
            <a:br>
              <a:rPr lang="es-ES" sz="3200" dirty="0"/>
            </a:br>
            <a:r>
              <a:rPr lang="es-ES" sz="3200" dirty="0"/>
              <a:t>de nuestra empresa</a:t>
            </a:r>
            <a:endParaRPr lang="es-ES" sz="2000" dirty="0">
              <a:solidFill>
                <a:srgbClr val="575757"/>
              </a:solidFill>
            </a:endParaRPr>
          </a:p>
        </p:txBody>
      </p:sp>
      <p:sp>
        <p:nvSpPr>
          <p:cNvPr id="22" name="Rectangle 21"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s-ES" sz="1600" dirty="0">
              <a:solidFill>
                <a:srgbClr val="FFFFFF"/>
              </a:solidFill>
              <a:latin typeface="Trebuchet MS" panose="020B0603020202020204" pitchFamily="34" charset="0"/>
              <a:sym typeface="Trebuchet MS" panose="020B0603020202020204" pitchFamily="34" charset="0"/>
            </a:endParaRPr>
          </a:p>
        </p:txBody>
      </p:sp>
      <p:grpSp>
        <p:nvGrpSpPr>
          <p:cNvPr id="28" name="Group 27"/>
          <p:cNvGrpSpPr>
            <a:grpSpLocks noChangeAspect="1"/>
          </p:cNvGrpSpPr>
          <p:nvPr/>
        </p:nvGrpSpPr>
        <p:grpSpPr>
          <a:xfrm>
            <a:off x="7739585" y="2959112"/>
            <a:ext cx="288000" cy="288000"/>
            <a:chOff x="982662" y="1847850"/>
            <a:chExt cx="269875" cy="269875"/>
          </a:xfrm>
        </p:grpSpPr>
        <p:sp>
          <p:nvSpPr>
            <p:cNvPr id="29"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s-ES" sz="2000" dirty="0">
                <a:solidFill>
                  <a:schemeClr val="bg1"/>
                </a:solidFill>
              </a:endParaRPr>
            </a:p>
          </p:txBody>
        </p:sp>
        <p:sp>
          <p:nvSpPr>
            <p:cNvPr id="30"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s-ES" sz="2000" dirty="0">
                <a:solidFill>
                  <a:schemeClr val="bg1"/>
                </a:solidFill>
              </a:endParaRPr>
            </a:p>
          </p:txBody>
        </p:sp>
      </p:grpSp>
      <p:grpSp>
        <p:nvGrpSpPr>
          <p:cNvPr id="44" name="Group 43"/>
          <p:cNvGrpSpPr>
            <a:grpSpLocks noChangeAspect="1"/>
          </p:cNvGrpSpPr>
          <p:nvPr/>
        </p:nvGrpSpPr>
        <p:grpSpPr>
          <a:xfrm>
            <a:off x="3779549" y="2959112"/>
            <a:ext cx="288000" cy="288000"/>
            <a:chOff x="982662" y="1847850"/>
            <a:chExt cx="269875" cy="269875"/>
          </a:xfrm>
        </p:grpSpPr>
        <p:sp>
          <p:nvSpPr>
            <p:cNvPr id="45"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s-ES" sz="2000" dirty="0">
                <a:solidFill>
                  <a:schemeClr val="bg1"/>
                </a:solidFill>
              </a:endParaRPr>
            </a:p>
          </p:txBody>
        </p:sp>
        <p:sp>
          <p:nvSpPr>
            <p:cNvPr id="4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s-ES" sz="2000" dirty="0">
                <a:solidFill>
                  <a:schemeClr val="bg1"/>
                </a:solidFill>
              </a:endParaRPr>
            </a:p>
          </p:txBody>
        </p:sp>
      </p:grpSp>
      <p:sp>
        <p:nvSpPr>
          <p:cNvPr id="57" name="AutoShape 3"/>
          <p:cNvSpPr>
            <a:spLocks noChangeAspect="1" noChangeArrowheads="1" noTextEdit="1"/>
          </p:cNvSpPr>
          <p:nvPr/>
        </p:nvSpPr>
        <p:spPr bwMode="auto">
          <a:xfrm>
            <a:off x="382502" y="1797717"/>
            <a:ext cx="1123145" cy="112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nvGrpSpPr>
          <p:cNvPr id="58" name="Group 57"/>
          <p:cNvGrpSpPr/>
          <p:nvPr/>
        </p:nvGrpSpPr>
        <p:grpSpPr>
          <a:xfrm>
            <a:off x="1315044" y="1592098"/>
            <a:ext cx="724575" cy="902199"/>
            <a:chOff x="5565774" y="2776538"/>
            <a:chExt cx="1062038" cy="1322388"/>
          </a:xfrm>
        </p:grpSpPr>
        <p:sp>
          <p:nvSpPr>
            <p:cNvPr id="59" name="Freeform 58"/>
            <p:cNvSpPr>
              <a:spLocks/>
            </p:cNvSpPr>
            <p:nvPr/>
          </p:nvSpPr>
          <p:spPr bwMode="auto">
            <a:xfrm>
              <a:off x="5565774" y="2776538"/>
              <a:ext cx="1062038" cy="1322388"/>
            </a:xfrm>
            <a:custGeom>
              <a:avLst/>
              <a:gdLst>
                <a:gd name="connsiteX0" fmla="*/ 531020 w 1062038"/>
                <a:gd name="connsiteY0" fmla="*/ 290512 h 1322388"/>
                <a:gd name="connsiteX1" fmla="*/ 30163 w 1062038"/>
                <a:gd name="connsiteY1" fmla="*/ 790575 h 1322388"/>
                <a:gd name="connsiteX2" fmla="*/ 531020 w 1062038"/>
                <a:gd name="connsiteY2" fmla="*/ 1290638 h 1322388"/>
                <a:gd name="connsiteX3" fmla="*/ 1031877 w 1062038"/>
                <a:gd name="connsiteY3" fmla="*/ 790575 h 1322388"/>
                <a:gd name="connsiteX4" fmla="*/ 531020 w 1062038"/>
                <a:gd name="connsiteY4" fmla="*/ 290512 h 1322388"/>
                <a:gd name="connsiteX5" fmla="*/ 531019 w 1062038"/>
                <a:gd name="connsiteY5" fmla="*/ 260350 h 1322388"/>
                <a:gd name="connsiteX6" fmla="*/ 1062038 w 1062038"/>
                <a:gd name="connsiteY6" fmla="*/ 791369 h 1322388"/>
                <a:gd name="connsiteX7" fmla="*/ 531019 w 1062038"/>
                <a:gd name="connsiteY7" fmla="*/ 1322388 h 1322388"/>
                <a:gd name="connsiteX8" fmla="*/ 0 w 1062038"/>
                <a:gd name="connsiteY8" fmla="*/ 791369 h 1322388"/>
                <a:gd name="connsiteX9" fmla="*/ 531019 w 1062038"/>
                <a:gd name="connsiteY9" fmla="*/ 260350 h 1322388"/>
                <a:gd name="connsiteX10" fmla="*/ 931683 w 1062038"/>
                <a:gd name="connsiteY10" fmla="*/ 238511 h 1322388"/>
                <a:gd name="connsiteX11" fmla="*/ 943095 w 1062038"/>
                <a:gd name="connsiteY11" fmla="*/ 242997 h 1322388"/>
                <a:gd name="connsiteX12" fmla="*/ 1044455 w 1062038"/>
                <a:gd name="connsiteY12" fmla="*/ 335583 h 1322388"/>
                <a:gd name="connsiteX13" fmla="*/ 1045174 w 1062038"/>
                <a:gd name="connsiteY13" fmla="*/ 357832 h 1322388"/>
                <a:gd name="connsiteX14" fmla="*/ 984789 w 1062038"/>
                <a:gd name="connsiteY14" fmla="*/ 423862 h 1322388"/>
                <a:gd name="connsiteX15" fmla="*/ 860425 w 1062038"/>
                <a:gd name="connsiteY15" fmla="*/ 309027 h 1322388"/>
                <a:gd name="connsiteX16" fmla="*/ 920810 w 1062038"/>
                <a:gd name="connsiteY16" fmla="*/ 243714 h 1322388"/>
                <a:gd name="connsiteX17" fmla="*/ 931683 w 1062038"/>
                <a:gd name="connsiteY17" fmla="*/ 238511 h 1322388"/>
                <a:gd name="connsiteX18" fmla="*/ 129462 w 1062038"/>
                <a:gd name="connsiteY18" fmla="*/ 236909 h 1322388"/>
                <a:gd name="connsiteX19" fmla="*/ 140253 w 1062038"/>
                <a:gd name="connsiteY19" fmla="*/ 242073 h 1322388"/>
                <a:gd name="connsiteX20" fmla="*/ 201613 w 1062038"/>
                <a:gd name="connsiteY20" fmla="*/ 309025 h 1322388"/>
                <a:gd name="connsiteX21" fmla="*/ 78180 w 1062038"/>
                <a:gd name="connsiteY21" fmla="*/ 422275 h 1322388"/>
                <a:gd name="connsiteX22" fmla="*/ 16821 w 1062038"/>
                <a:gd name="connsiteY22" fmla="*/ 355322 h 1322388"/>
                <a:gd name="connsiteX23" fmla="*/ 17534 w 1062038"/>
                <a:gd name="connsiteY23" fmla="*/ 333242 h 1322388"/>
                <a:gd name="connsiteX24" fmla="*/ 118135 w 1062038"/>
                <a:gd name="connsiteY24" fmla="*/ 241360 h 1322388"/>
                <a:gd name="connsiteX25" fmla="*/ 129462 w 1062038"/>
                <a:gd name="connsiteY25" fmla="*/ 236909 h 1322388"/>
                <a:gd name="connsiteX26" fmla="*/ 380807 w 1062038"/>
                <a:gd name="connsiteY26" fmla="*/ 0 h 1322388"/>
                <a:gd name="connsiteX27" fmla="*/ 678056 w 1062038"/>
                <a:gd name="connsiteY27" fmla="*/ 0 h 1322388"/>
                <a:gd name="connsiteX28" fmla="*/ 693738 w 1062038"/>
                <a:gd name="connsiteY28" fmla="*/ 15746 h 1322388"/>
                <a:gd name="connsiteX29" fmla="*/ 693738 w 1062038"/>
                <a:gd name="connsiteY29" fmla="*/ 163185 h 1322388"/>
                <a:gd name="connsiteX30" fmla="*/ 588953 w 1062038"/>
                <a:gd name="connsiteY30" fmla="*/ 163185 h 1322388"/>
                <a:gd name="connsiteX31" fmla="*/ 588953 w 1062038"/>
                <a:gd name="connsiteY31" fmla="*/ 210422 h 1322388"/>
                <a:gd name="connsiteX32" fmla="*/ 531214 w 1062038"/>
                <a:gd name="connsiteY32" fmla="*/ 207560 h 1322388"/>
                <a:gd name="connsiteX33" fmla="*/ 469198 w 1062038"/>
                <a:gd name="connsiteY33" fmla="*/ 211138 h 1322388"/>
                <a:gd name="connsiteX34" fmla="*/ 469198 w 1062038"/>
                <a:gd name="connsiteY34" fmla="*/ 163185 h 1322388"/>
                <a:gd name="connsiteX35" fmla="*/ 365125 w 1062038"/>
                <a:gd name="connsiteY35" fmla="*/ 163185 h 1322388"/>
                <a:gd name="connsiteX36" fmla="*/ 365125 w 1062038"/>
                <a:gd name="connsiteY36" fmla="*/ 15746 h 1322388"/>
                <a:gd name="connsiteX37" fmla="*/ 380807 w 1062038"/>
                <a:gd name="connsiteY37"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62038" h="1322388">
                  <a:moveTo>
                    <a:pt x="531020" y="290512"/>
                  </a:moveTo>
                  <a:cubicBezTo>
                    <a:pt x="254404" y="290512"/>
                    <a:pt x="30163" y="514398"/>
                    <a:pt x="30163" y="790575"/>
                  </a:cubicBezTo>
                  <a:cubicBezTo>
                    <a:pt x="30163" y="1066752"/>
                    <a:pt x="254404" y="1290638"/>
                    <a:pt x="531020" y="1290638"/>
                  </a:cubicBezTo>
                  <a:cubicBezTo>
                    <a:pt x="807636" y="1290638"/>
                    <a:pt x="1031877" y="1066752"/>
                    <a:pt x="1031877" y="790575"/>
                  </a:cubicBezTo>
                  <a:cubicBezTo>
                    <a:pt x="1031877" y="514398"/>
                    <a:pt x="807636" y="290512"/>
                    <a:pt x="531020" y="290512"/>
                  </a:cubicBezTo>
                  <a:close/>
                  <a:moveTo>
                    <a:pt x="531019" y="260350"/>
                  </a:moveTo>
                  <a:cubicBezTo>
                    <a:pt x="824293" y="260350"/>
                    <a:pt x="1062038" y="498095"/>
                    <a:pt x="1062038" y="791369"/>
                  </a:cubicBezTo>
                  <a:cubicBezTo>
                    <a:pt x="1062038" y="1084643"/>
                    <a:pt x="824293" y="1322388"/>
                    <a:pt x="531019" y="1322388"/>
                  </a:cubicBezTo>
                  <a:cubicBezTo>
                    <a:pt x="237745" y="1322388"/>
                    <a:pt x="0" y="1084643"/>
                    <a:pt x="0" y="791369"/>
                  </a:cubicBezTo>
                  <a:cubicBezTo>
                    <a:pt x="0" y="498095"/>
                    <a:pt x="237745" y="260350"/>
                    <a:pt x="531019" y="260350"/>
                  </a:cubicBezTo>
                  <a:close/>
                  <a:moveTo>
                    <a:pt x="931683" y="238511"/>
                  </a:moveTo>
                  <a:cubicBezTo>
                    <a:pt x="935727" y="238331"/>
                    <a:pt x="939860" y="239767"/>
                    <a:pt x="943095" y="242997"/>
                  </a:cubicBezTo>
                  <a:cubicBezTo>
                    <a:pt x="943095" y="242997"/>
                    <a:pt x="943095" y="242997"/>
                    <a:pt x="1044455" y="335583"/>
                  </a:cubicBezTo>
                  <a:cubicBezTo>
                    <a:pt x="1050925" y="341324"/>
                    <a:pt x="1050925" y="351372"/>
                    <a:pt x="1045174" y="357832"/>
                  </a:cubicBezTo>
                  <a:cubicBezTo>
                    <a:pt x="1045174" y="357832"/>
                    <a:pt x="1045174" y="357832"/>
                    <a:pt x="984789" y="423862"/>
                  </a:cubicBezTo>
                  <a:cubicBezTo>
                    <a:pt x="948846" y="380081"/>
                    <a:pt x="907152" y="341324"/>
                    <a:pt x="860425" y="309027"/>
                  </a:cubicBezTo>
                  <a:cubicBezTo>
                    <a:pt x="860425" y="309027"/>
                    <a:pt x="860425" y="309027"/>
                    <a:pt x="920810" y="243714"/>
                  </a:cubicBezTo>
                  <a:cubicBezTo>
                    <a:pt x="923686" y="240485"/>
                    <a:pt x="927640" y="238690"/>
                    <a:pt x="931683" y="238511"/>
                  </a:cubicBezTo>
                  <a:close/>
                  <a:moveTo>
                    <a:pt x="129462" y="236909"/>
                  </a:moveTo>
                  <a:cubicBezTo>
                    <a:pt x="133475" y="237087"/>
                    <a:pt x="137399" y="238867"/>
                    <a:pt x="140253" y="242073"/>
                  </a:cubicBezTo>
                  <a:cubicBezTo>
                    <a:pt x="140253" y="242073"/>
                    <a:pt x="140253" y="242073"/>
                    <a:pt x="201613" y="309025"/>
                  </a:cubicBezTo>
                  <a:cubicBezTo>
                    <a:pt x="155236" y="340365"/>
                    <a:pt x="113854" y="378827"/>
                    <a:pt x="78180" y="422275"/>
                  </a:cubicBezTo>
                  <a:lnTo>
                    <a:pt x="16821" y="355322"/>
                  </a:lnTo>
                  <a:cubicBezTo>
                    <a:pt x="11113" y="348912"/>
                    <a:pt x="11113" y="338940"/>
                    <a:pt x="17534" y="333242"/>
                  </a:cubicBezTo>
                  <a:cubicBezTo>
                    <a:pt x="17534" y="333242"/>
                    <a:pt x="17534" y="333242"/>
                    <a:pt x="118135" y="241360"/>
                  </a:cubicBezTo>
                  <a:cubicBezTo>
                    <a:pt x="121346" y="238155"/>
                    <a:pt x="125449" y="236731"/>
                    <a:pt x="129462" y="236909"/>
                  </a:cubicBezTo>
                  <a:close/>
                  <a:moveTo>
                    <a:pt x="380807" y="0"/>
                  </a:moveTo>
                  <a:cubicBezTo>
                    <a:pt x="380807" y="0"/>
                    <a:pt x="380807" y="0"/>
                    <a:pt x="678056" y="0"/>
                  </a:cubicBezTo>
                  <a:cubicBezTo>
                    <a:pt x="686610" y="0"/>
                    <a:pt x="693738" y="7157"/>
                    <a:pt x="693738" y="15746"/>
                  </a:cubicBezTo>
                  <a:cubicBezTo>
                    <a:pt x="693738" y="15746"/>
                    <a:pt x="693738" y="15746"/>
                    <a:pt x="693738" y="163185"/>
                  </a:cubicBezTo>
                  <a:cubicBezTo>
                    <a:pt x="693738" y="163185"/>
                    <a:pt x="693738" y="163185"/>
                    <a:pt x="588953" y="163185"/>
                  </a:cubicBezTo>
                  <a:cubicBezTo>
                    <a:pt x="588953" y="163185"/>
                    <a:pt x="588953" y="163185"/>
                    <a:pt x="588953" y="210422"/>
                  </a:cubicBezTo>
                  <a:cubicBezTo>
                    <a:pt x="570419" y="208275"/>
                    <a:pt x="551173" y="207560"/>
                    <a:pt x="531214" y="207560"/>
                  </a:cubicBezTo>
                  <a:cubicBezTo>
                    <a:pt x="510542" y="207560"/>
                    <a:pt x="489870" y="208991"/>
                    <a:pt x="469198" y="211138"/>
                  </a:cubicBezTo>
                  <a:lnTo>
                    <a:pt x="469198" y="163185"/>
                  </a:lnTo>
                  <a:cubicBezTo>
                    <a:pt x="469198" y="163185"/>
                    <a:pt x="469198" y="163185"/>
                    <a:pt x="365125" y="163185"/>
                  </a:cubicBezTo>
                  <a:cubicBezTo>
                    <a:pt x="365125" y="163185"/>
                    <a:pt x="365125" y="163185"/>
                    <a:pt x="365125" y="15746"/>
                  </a:cubicBezTo>
                  <a:cubicBezTo>
                    <a:pt x="365125" y="7157"/>
                    <a:pt x="372254" y="0"/>
                    <a:pt x="38080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s-ES" dirty="0"/>
            </a:p>
          </p:txBody>
        </p:sp>
        <p:sp>
          <p:nvSpPr>
            <p:cNvPr id="60" name="Freeform 59"/>
            <p:cNvSpPr>
              <a:spLocks/>
            </p:cNvSpPr>
            <p:nvPr/>
          </p:nvSpPr>
          <p:spPr bwMode="auto">
            <a:xfrm>
              <a:off x="5629275" y="3100388"/>
              <a:ext cx="935038" cy="935038"/>
            </a:xfrm>
            <a:custGeom>
              <a:avLst/>
              <a:gdLst>
                <a:gd name="connsiteX0" fmla="*/ 254333 w 935038"/>
                <a:gd name="connsiteY0" fmla="*/ 804700 h 935038"/>
                <a:gd name="connsiteX1" fmla="*/ 238852 w 935038"/>
                <a:gd name="connsiteY1" fmla="*/ 817085 h 935038"/>
                <a:gd name="connsiteX2" fmla="*/ 248052 w 935038"/>
                <a:gd name="connsiteY2" fmla="*/ 851761 h 935038"/>
                <a:gd name="connsiteX3" fmla="*/ 282729 w 935038"/>
                <a:gd name="connsiteY3" fmla="*/ 842561 h 935038"/>
                <a:gd name="connsiteX4" fmla="*/ 273529 w 935038"/>
                <a:gd name="connsiteY4" fmla="*/ 807177 h 935038"/>
                <a:gd name="connsiteX5" fmla="*/ 254333 w 935038"/>
                <a:gd name="connsiteY5" fmla="*/ 804700 h 935038"/>
                <a:gd name="connsiteX6" fmla="*/ 684858 w 935038"/>
                <a:gd name="connsiteY6" fmla="*/ 803112 h 935038"/>
                <a:gd name="connsiteX7" fmla="*/ 665144 w 935038"/>
                <a:gd name="connsiteY7" fmla="*/ 805589 h 935038"/>
                <a:gd name="connsiteX8" fmla="*/ 654968 w 935038"/>
                <a:gd name="connsiteY8" fmla="*/ 840973 h 935038"/>
                <a:gd name="connsiteX9" fmla="*/ 691309 w 935038"/>
                <a:gd name="connsiteY9" fmla="*/ 850173 h 935038"/>
                <a:gd name="connsiteX10" fmla="*/ 700757 w 935038"/>
                <a:gd name="connsiteY10" fmla="*/ 815497 h 935038"/>
                <a:gd name="connsiteX11" fmla="*/ 684858 w 935038"/>
                <a:gd name="connsiteY11" fmla="*/ 803112 h 935038"/>
                <a:gd name="connsiteX12" fmla="*/ 113615 w 935038"/>
                <a:gd name="connsiteY12" fmla="*/ 652212 h 935038"/>
                <a:gd name="connsiteX13" fmla="*/ 94065 w 935038"/>
                <a:gd name="connsiteY13" fmla="*/ 654777 h 935038"/>
                <a:gd name="connsiteX14" fmla="*/ 84865 w 935038"/>
                <a:gd name="connsiteY14" fmla="*/ 690161 h 935038"/>
                <a:gd name="connsiteX15" fmla="*/ 119542 w 935038"/>
                <a:gd name="connsiteY15" fmla="*/ 699361 h 935038"/>
                <a:gd name="connsiteX16" fmla="*/ 129449 w 935038"/>
                <a:gd name="connsiteY16" fmla="*/ 663977 h 935038"/>
                <a:gd name="connsiteX17" fmla="*/ 113615 w 935038"/>
                <a:gd name="connsiteY17" fmla="*/ 652212 h 935038"/>
                <a:gd name="connsiteX18" fmla="*/ 824246 w 935038"/>
                <a:gd name="connsiteY18" fmla="*/ 649249 h 935038"/>
                <a:gd name="connsiteX19" fmla="*/ 808765 w 935038"/>
                <a:gd name="connsiteY19" fmla="*/ 661968 h 935038"/>
                <a:gd name="connsiteX20" fmla="*/ 817965 w 935038"/>
                <a:gd name="connsiteY20" fmla="*/ 697582 h 935038"/>
                <a:gd name="connsiteX21" fmla="*/ 853349 w 935038"/>
                <a:gd name="connsiteY21" fmla="*/ 688134 h 935038"/>
                <a:gd name="connsiteX22" fmla="*/ 843442 w 935038"/>
                <a:gd name="connsiteY22" fmla="*/ 651793 h 935038"/>
                <a:gd name="connsiteX23" fmla="*/ 824246 w 935038"/>
                <a:gd name="connsiteY23" fmla="*/ 649249 h 935038"/>
                <a:gd name="connsiteX24" fmla="*/ 710440 w 935038"/>
                <a:gd name="connsiteY24" fmla="*/ 257904 h 935038"/>
                <a:gd name="connsiteX25" fmla="*/ 698455 w 935038"/>
                <a:gd name="connsiteY25" fmla="*/ 261291 h 935038"/>
                <a:gd name="connsiteX26" fmla="*/ 492382 w 935038"/>
                <a:gd name="connsiteY26" fmla="*/ 416019 h 935038"/>
                <a:gd name="connsiteX27" fmla="*/ 479503 w 935038"/>
                <a:gd name="connsiteY27" fmla="*/ 425289 h 935038"/>
                <a:gd name="connsiteX28" fmla="*/ 468770 w 935038"/>
                <a:gd name="connsiteY28" fmla="*/ 423862 h 935038"/>
                <a:gd name="connsiteX29" fmla="*/ 453028 w 935038"/>
                <a:gd name="connsiteY29" fmla="*/ 426715 h 935038"/>
                <a:gd name="connsiteX30" fmla="*/ 443011 w 935038"/>
                <a:gd name="connsiteY30" fmla="*/ 421010 h 935038"/>
                <a:gd name="connsiteX31" fmla="*/ 311353 w 935038"/>
                <a:gd name="connsiteY31" fmla="*/ 348994 h 935038"/>
                <a:gd name="connsiteX32" fmla="*/ 288456 w 935038"/>
                <a:gd name="connsiteY32" fmla="*/ 353985 h 935038"/>
                <a:gd name="connsiteX33" fmla="*/ 294181 w 935038"/>
                <a:gd name="connsiteY33" fmla="*/ 376802 h 935038"/>
                <a:gd name="connsiteX34" fmla="*/ 426554 w 935038"/>
                <a:gd name="connsiteY34" fmla="*/ 467357 h 935038"/>
                <a:gd name="connsiteX35" fmla="*/ 468770 w 935038"/>
                <a:gd name="connsiteY35" fmla="*/ 508000 h 935038"/>
                <a:gd name="connsiteX36" fmla="*/ 510986 w 935038"/>
                <a:gd name="connsiteY36" fmla="*/ 465931 h 935038"/>
                <a:gd name="connsiteX37" fmla="*/ 510271 w 935038"/>
                <a:gd name="connsiteY37" fmla="*/ 464505 h 935038"/>
                <a:gd name="connsiteX38" fmla="*/ 719205 w 935038"/>
                <a:gd name="connsiteY38" fmla="*/ 286960 h 935038"/>
                <a:gd name="connsiteX39" fmla="*/ 721352 w 935038"/>
                <a:gd name="connsiteY39" fmla="*/ 264143 h 935038"/>
                <a:gd name="connsiteX40" fmla="*/ 710440 w 935038"/>
                <a:gd name="connsiteY40" fmla="*/ 257904 h 935038"/>
                <a:gd name="connsiteX41" fmla="*/ 98758 w 935038"/>
                <a:gd name="connsiteY41" fmla="*/ 234699 h 935038"/>
                <a:gd name="connsiteX42" fmla="*/ 83277 w 935038"/>
                <a:gd name="connsiteY42" fmla="*/ 246464 h 935038"/>
                <a:gd name="connsiteX43" fmla="*/ 92477 w 935038"/>
                <a:gd name="connsiteY43" fmla="*/ 281848 h 935038"/>
                <a:gd name="connsiteX44" fmla="*/ 127861 w 935038"/>
                <a:gd name="connsiteY44" fmla="*/ 272648 h 935038"/>
                <a:gd name="connsiteX45" fmla="*/ 117954 w 935038"/>
                <a:gd name="connsiteY45" fmla="*/ 237264 h 935038"/>
                <a:gd name="connsiteX46" fmla="*/ 98758 w 935038"/>
                <a:gd name="connsiteY46" fmla="*/ 234699 h 935038"/>
                <a:gd name="connsiteX47" fmla="*/ 835927 w 935038"/>
                <a:gd name="connsiteY47" fmla="*/ 233043 h 935038"/>
                <a:gd name="connsiteX48" fmla="*/ 816377 w 935038"/>
                <a:gd name="connsiteY48" fmla="*/ 235570 h 935038"/>
                <a:gd name="connsiteX49" fmla="*/ 807177 w 935038"/>
                <a:gd name="connsiteY49" fmla="*/ 269720 h 935038"/>
                <a:gd name="connsiteX50" fmla="*/ 841854 w 935038"/>
                <a:gd name="connsiteY50" fmla="*/ 278781 h 935038"/>
                <a:gd name="connsiteX51" fmla="*/ 851761 w 935038"/>
                <a:gd name="connsiteY51" fmla="*/ 244630 h 935038"/>
                <a:gd name="connsiteX52" fmla="*/ 835927 w 935038"/>
                <a:gd name="connsiteY52" fmla="*/ 233043 h 935038"/>
                <a:gd name="connsiteX53" fmla="*/ 264692 w 935038"/>
                <a:gd name="connsiteY53" fmla="*/ 80924 h 935038"/>
                <a:gd name="connsiteX54" fmla="*/ 244877 w 935038"/>
                <a:gd name="connsiteY54" fmla="*/ 83468 h 935038"/>
                <a:gd name="connsiteX55" fmla="*/ 235677 w 935038"/>
                <a:gd name="connsiteY55" fmla="*/ 119809 h 935038"/>
                <a:gd name="connsiteX56" fmla="*/ 271061 w 935038"/>
                <a:gd name="connsiteY56" fmla="*/ 129257 h 935038"/>
                <a:gd name="connsiteX57" fmla="*/ 280261 w 935038"/>
                <a:gd name="connsiteY57" fmla="*/ 93643 h 935038"/>
                <a:gd name="connsiteX58" fmla="*/ 264692 w 935038"/>
                <a:gd name="connsiteY58" fmla="*/ 80924 h 935038"/>
                <a:gd name="connsiteX59" fmla="*/ 668759 w 935038"/>
                <a:gd name="connsiteY59" fmla="*/ 79336 h 935038"/>
                <a:gd name="connsiteX60" fmla="*/ 653190 w 935038"/>
                <a:gd name="connsiteY60" fmla="*/ 92055 h 935038"/>
                <a:gd name="connsiteX61" fmla="*/ 662390 w 935038"/>
                <a:gd name="connsiteY61" fmla="*/ 127669 h 935038"/>
                <a:gd name="connsiteX62" fmla="*/ 697774 w 935038"/>
                <a:gd name="connsiteY62" fmla="*/ 118221 h 935038"/>
                <a:gd name="connsiteX63" fmla="*/ 688574 w 935038"/>
                <a:gd name="connsiteY63" fmla="*/ 81880 h 935038"/>
                <a:gd name="connsiteX64" fmla="*/ 668759 w 935038"/>
                <a:gd name="connsiteY64" fmla="*/ 79336 h 935038"/>
                <a:gd name="connsiteX65" fmla="*/ 440018 w 935038"/>
                <a:gd name="connsiteY65" fmla="*/ 0 h 935038"/>
                <a:gd name="connsiteX66" fmla="*/ 440018 w 935038"/>
                <a:gd name="connsiteY66" fmla="*/ 49288 h 935038"/>
                <a:gd name="connsiteX67" fmla="*/ 466448 w 935038"/>
                <a:gd name="connsiteY67" fmla="*/ 75717 h 935038"/>
                <a:gd name="connsiteX68" fmla="*/ 492163 w 935038"/>
                <a:gd name="connsiteY68" fmla="*/ 49288 h 935038"/>
                <a:gd name="connsiteX69" fmla="*/ 492163 w 935038"/>
                <a:gd name="connsiteY69" fmla="*/ 0 h 935038"/>
                <a:gd name="connsiteX70" fmla="*/ 935038 w 935038"/>
                <a:gd name="connsiteY70" fmla="*/ 440018 h 935038"/>
                <a:gd name="connsiteX71" fmla="*/ 885751 w 935038"/>
                <a:gd name="connsiteY71" fmla="*/ 440018 h 935038"/>
                <a:gd name="connsiteX72" fmla="*/ 859321 w 935038"/>
                <a:gd name="connsiteY72" fmla="*/ 465733 h 935038"/>
                <a:gd name="connsiteX73" fmla="*/ 885751 w 935038"/>
                <a:gd name="connsiteY73" fmla="*/ 491449 h 935038"/>
                <a:gd name="connsiteX74" fmla="*/ 935038 w 935038"/>
                <a:gd name="connsiteY74" fmla="*/ 491449 h 935038"/>
                <a:gd name="connsiteX75" fmla="*/ 495020 w 935038"/>
                <a:gd name="connsiteY75" fmla="*/ 934324 h 935038"/>
                <a:gd name="connsiteX76" fmla="*/ 495020 w 935038"/>
                <a:gd name="connsiteY76" fmla="*/ 885036 h 935038"/>
                <a:gd name="connsiteX77" fmla="*/ 469305 w 935038"/>
                <a:gd name="connsiteY77" fmla="*/ 859321 h 935038"/>
                <a:gd name="connsiteX78" fmla="*/ 442875 w 935038"/>
                <a:gd name="connsiteY78" fmla="*/ 885036 h 935038"/>
                <a:gd name="connsiteX79" fmla="*/ 442875 w 935038"/>
                <a:gd name="connsiteY79" fmla="*/ 935038 h 935038"/>
                <a:gd name="connsiteX80" fmla="*/ 0 w 935038"/>
                <a:gd name="connsiteY80" fmla="*/ 495020 h 935038"/>
                <a:gd name="connsiteX81" fmla="*/ 50002 w 935038"/>
                <a:gd name="connsiteY81" fmla="*/ 495020 h 935038"/>
                <a:gd name="connsiteX82" fmla="*/ 75718 w 935038"/>
                <a:gd name="connsiteY82" fmla="*/ 468591 h 935038"/>
                <a:gd name="connsiteX83" fmla="*/ 50002 w 935038"/>
                <a:gd name="connsiteY83" fmla="*/ 442875 h 935038"/>
                <a:gd name="connsiteX84" fmla="*/ 0 w 935038"/>
                <a:gd name="connsiteY84" fmla="*/ 442875 h 935038"/>
                <a:gd name="connsiteX85" fmla="*/ 440018 w 935038"/>
                <a:gd name="connsiteY85" fmla="*/ 0 h 9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935038" h="935038">
                  <a:moveTo>
                    <a:pt x="254333" y="804700"/>
                  </a:moveTo>
                  <a:cubicBezTo>
                    <a:pt x="248052" y="806469"/>
                    <a:pt x="242391" y="810715"/>
                    <a:pt x="238852" y="817085"/>
                  </a:cubicBezTo>
                  <a:cubicBezTo>
                    <a:pt x="231775" y="829115"/>
                    <a:pt x="236021" y="844684"/>
                    <a:pt x="248052" y="851761"/>
                  </a:cubicBezTo>
                  <a:cubicBezTo>
                    <a:pt x="260083" y="858838"/>
                    <a:pt x="275652" y="854592"/>
                    <a:pt x="282729" y="842561"/>
                  </a:cubicBezTo>
                  <a:cubicBezTo>
                    <a:pt x="290513" y="829823"/>
                    <a:pt x="286267" y="814254"/>
                    <a:pt x="273529" y="807177"/>
                  </a:cubicBezTo>
                  <a:cubicBezTo>
                    <a:pt x="267514" y="803639"/>
                    <a:pt x="260614" y="802931"/>
                    <a:pt x="254333" y="804700"/>
                  </a:cubicBezTo>
                  <a:close/>
                  <a:moveTo>
                    <a:pt x="684858" y="803112"/>
                  </a:moveTo>
                  <a:cubicBezTo>
                    <a:pt x="678408" y="801343"/>
                    <a:pt x="671321" y="802050"/>
                    <a:pt x="665144" y="805589"/>
                  </a:cubicBezTo>
                  <a:cubicBezTo>
                    <a:pt x="652061" y="812666"/>
                    <a:pt x="647700" y="828235"/>
                    <a:pt x="654968" y="840973"/>
                  </a:cubicBezTo>
                  <a:cubicBezTo>
                    <a:pt x="662236" y="853004"/>
                    <a:pt x="678953" y="857250"/>
                    <a:pt x="691309" y="850173"/>
                  </a:cubicBezTo>
                  <a:cubicBezTo>
                    <a:pt x="703664" y="843096"/>
                    <a:pt x="708025" y="827527"/>
                    <a:pt x="700757" y="815497"/>
                  </a:cubicBezTo>
                  <a:cubicBezTo>
                    <a:pt x="697123" y="809127"/>
                    <a:pt x="691309" y="804881"/>
                    <a:pt x="684858" y="803112"/>
                  </a:cubicBezTo>
                  <a:close/>
                  <a:moveTo>
                    <a:pt x="113615" y="652212"/>
                  </a:moveTo>
                  <a:cubicBezTo>
                    <a:pt x="107157" y="650531"/>
                    <a:pt x="100081" y="651239"/>
                    <a:pt x="94065" y="654777"/>
                  </a:cubicBezTo>
                  <a:cubicBezTo>
                    <a:pt x="82034" y="661854"/>
                    <a:pt x="77788" y="677423"/>
                    <a:pt x="84865" y="690161"/>
                  </a:cubicBezTo>
                  <a:cubicBezTo>
                    <a:pt x="91942" y="702192"/>
                    <a:pt x="107511" y="706438"/>
                    <a:pt x="119542" y="699361"/>
                  </a:cubicBezTo>
                  <a:cubicBezTo>
                    <a:pt x="132280" y="692284"/>
                    <a:pt x="136526" y="676715"/>
                    <a:pt x="129449" y="663977"/>
                  </a:cubicBezTo>
                  <a:cubicBezTo>
                    <a:pt x="125911" y="657962"/>
                    <a:pt x="120073" y="653892"/>
                    <a:pt x="113615" y="652212"/>
                  </a:cubicBezTo>
                  <a:close/>
                  <a:moveTo>
                    <a:pt x="824246" y="649249"/>
                  </a:moveTo>
                  <a:cubicBezTo>
                    <a:pt x="817965" y="651066"/>
                    <a:pt x="812303" y="655427"/>
                    <a:pt x="808765" y="661968"/>
                  </a:cubicBezTo>
                  <a:cubicBezTo>
                    <a:pt x="801688" y="674324"/>
                    <a:pt x="805934" y="690314"/>
                    <a:pt x="817965" y="697582"/>
                  </a:cubicBezTo>
                  <a:cubicBezTo>
                    <a:pt x="829996" y="704850"/>
                    <a:pt x="846273" y="700489"/>
                    <a:pt x="853349" y="688134"/>
                  </a:cubicBezTo>
                  <a:cubicBezTo>
                    <a:pt x="860426" y="675778"/>
                    <a:pt x="856180" y="659061"/>
                    <a:pt x="843442" y="651793"/>
                  </a:cubicBezTo>
                  <a:cubicBezTo>
                    <a:pt x="837426" y="648159"/>
                    <a:pt x="830526" y="647432"/>
                    <a:pt x="824246" y="649249"/>
                  </a:cubicBezTo>
                  <a:close/>
                  <a:moveTo>
                    <a:pt x="710440" y="257904"/>
                  </a:moveTo>
                  <a:cubicBezTo>
                    <a:pt x="706326" y="257370"/>
                    <a:pt x="702033" y="258439"/>
                    <a:pt x="698455" y="261291"/>
                  </a:cubicBezTo>
                  <a:cubicBezTo>
                    <a:pt x="698455" y="261291"/>
                    <a:pt x="698455" y="261291"/>
                    <a:pt x="492382" y="416019"/>
                  </a:cubicBezTo>
                  <a:cubicBezTo>
                    <a:pt x="492382" y="416019"/>
                    <a:pt x="492382" y="416019"/>
                    <a:pt x="479503" y="425289"/>
                  </a:cubicBezTo>
                  <a:cubicBezTo>
                    <a:pt x="475925" y="424575"/>
                    <a:pt x="472348" y="423862"/>
                    <a:pt x="468770" y="423862"/>
                  </a:cubicBezTo>
                  <a:cubicBezTo>
                    <a:pt x="463046" y="423862"/>
                    <a:pt x="458037" y="424575"/>
                    <a:pt x="453028" y="426715"/>
                  </a:cubicBezTo>
                  <a:cubicBezTo>
                    <a:pt x="453028" y="426715"/>
                    <a:pt x="453028" y="426715"/>
                    <a:pt x="443011" y="421010"/>
                  </a:cubicBezTo>
                  <a:cubicBezTo>
                    <a:pt x="443011" y="421010"/>
                    <a:pt x="443011" y="421010"/>
                    <a:pt x="311353" y="348994"/>
                  </a:cubicBezTo>
                  <a:cubicBezTo>
                    <a:pt x="303483" y="344003"/>
                    <a:pt x="293465" y="346142"/>
                    <a:pt x="288456" y="353985"/>
                  </a:cubicBezTo>
                  <a:cubicBezTo>
                    <a:pt x="284163" y="361829"/>
                    <a:pt x="286310" y="371811"/>
                    <a:pt x="294181" y="376802"/>
                  </a:cubicBezTo>
                  <a:cubicBezTo>
                    <a:pt x="294181" y="376802"/>
                    <a:pt x="294181" y="376802"/>
                    <a:pt x="426554" y="467357"/>
                  </a:cubicBezTo>
                  <a:cubicBezTo>
                    <a:pt x="427269" y="490174"/>
                    <a:pt x="445873" y="508000"/>
                    <a:pt x="468770" y="508000"/>
                  </a:cubicBezTo>
                  <a:cubicBezTo>
                    <a:pt x="491667" y="508000"/>
                    <a:pt x="510986" y="489461"/>
                    <a:pt x="510986" y="465931"/>
                  </a:cubicBezTo>
                  <a:cubicBezTo>
                    <a:pt x="510986" y="465218"/>
                    <a:pt x="510271" y="465218"/>
                    <a:pt x="510271" y="464505"/>
                  </a:cubicBezTo>
                  <a:cubicBezTo>
                    <a:pt x="510271" y="464505"/>
                    <a:pt x="510271" y="464505"/>
                    <a:pt x="719205" y="286960"/>
                  </a:cubicBezTo>
                  <a:cubicBezTo>
                    <a:pt x="726361" y="281256"/>
                    <a:pt x="727076" y="271274"/>
                    <a:pt x="721352" y="264143"/>
                  </a:cubicBezTo>
                  <a:cubicBezTo>
                    <a:pt x="718490" y="260578"/>
                    <a:pt x="714554" y="258439"/>
                    <a:pt x="710440" y="257904"/>
                  </a:cubicBezTo>
                  <a:close/>
                  <a:moveTo>
                    <a:pt x="98758" y="234699"/>
                  </a:moveTo>
                  <a:cubicBezTo>
                    <a:pt x="92477" y="236379"/>
                    <a:pt x="86816" y="240449"/>
                    <a:pt x="83277" y="246464"/>
                  </a:cubicBezTo>
                  <a:cubicBezTo>
                    <a:pt x="76200" y="259202"/>
                    <a:pt x="80446" y="274771"/>
                    <a:pt x="92477" y="281848"/>
                  </a:cubicBezTo>
                  <a:cubicBezTo>
                    <a:pt x="104508" y="288925"/>
                    <a:pt x="120785" y="284679"/>
                    <a:pt x="127861" y="272648"/>
                  </a:cubicBezTo>
                  <a:cubicBezTo>
                    <a:pt x="134938" y="259910"/>
                    <a:pt x="130692" y="244341"/>
                    <a:pt x="117954" y="237264"/>
                  </a:cubicBezTo>
                  <a:cubicBezTo>
                    <a:pt x="111939" y="233726"/>
                    <a:pt x="105039" y="233018"/>
                    <a:pt x="98758" y="234699"/>
                  </a:cubicBezTo>
                  <a:close/>
                  <a:moveTo>
                    <a:pt x="835927" y="233043"/>
                  </a:moveTo>
                  <a:cubicBezTo>
                    <a:pt x="829469" y="231388"/>
                    <a:pt x="822393" y="232085"/>
                    <a:pt x="816377" y="235570"/>
                  </a:cubicBezTo>
                  <a:cubicBezTo>
                    <a:pt x="804346" y="242539"/>
                    <a:pt x="800100" y="257872"/>
                    <a:pt x="807177" y="269720"/>
                  </a:cubicBezTo>
                  <a:cubicBezTo>
                    <a:pt x="814254" y="282265"/>
                    <a:pt x="829823" y="285750"/>
                    <a:pt x="841854" y="278781"/>
                  </a:cubicBezTo>
                  <a:cubicBezTo>
                    <a:pt x="854592" y="271811"/>
                    <a:pt x="858838" y="256478"/>
                    <a:pt x="851761" y="244630"/>
                  </a:cubicBezTo>
                  <a:cubicBezTo>
                    <a:pt x="848223" y="238706"/>
                    <a:pt x="842385" y="234699"/>
                    <a:pt x="835927" y="233043"/>
                  </a:cubicBezTo>
                  <a:close/>
                  <a:moveTo>
                    <a:pt x="264692" y="80924"/>
                  </a:moveTo>
                  <a:cubicBezTo>
                    <a:pt x="258323" y="79107"/>
                    <a:pt x="251246" y="79834"/>
                    <a:pt x="244877" y="83468"/>
                  </a:cubicBezTo>
                  <a:cubicBezTo>
                    <a:pt x="232846" y="90736"/>
                    <a:pt x="228600" y="107453"/>
                    <a:pt x="235677" y="119809"/>
                  </a:cubicBezTo>
                  <a:cubicBezTo>
                    <a:pt x="242754" y="132164"/>
                    <a:pt x="258323" y="136525"/>
                    <a:pt x="271061" y="129257"/>
                  </a:cubicBezTo>
                  <a:cubicBezTo>
                    <a:pt x="283092" y="121989"/>
                    <a:pt x="287338" y="105999"/>
                    <a:pt x="280261" y="93643"/>
                  </a:cubicBezTo>
                  <a:cubicBezTo>
                    <a:pt x="276723" y="87102"/>
                    <a:pt x="271062" y="82741"/>
                    <a:pt x="264692" y="80924"/>
                  </a:cubicBezTo>
                  <a:close/>
                  <a:moveTo>
                    <a:pt x="668759" y="79336"/>
                  </a:moveTo>
                  <a:cubicBezTo>
                    <a:pt x="662390" y="81153"/>
                    <a:pt x="656729" y="85514"/>
                    <a:pt x="653190" y="92055"/>
                  </a:cubicBezTo>
                  <a:cubicBezTo>
                    <a:pt x="646113" y="104411"/>
                    <a:pt x="650359" y="120401"/>
                    <a:pt x="662390" y="127669"/>
                  </a:cubicBezTo>
                  <a:cubicBezTo>
                    <a:pt x="675128" y="134937"/>
                    <a:pt x="690698" y="130576"/>
                    <a:pt x="697774" y="118221"/>
                  </a:cubicBezTo>
                  <a:cubicBezTo>
                    <a:pt x="704851" y="105138"/>
                    <a:pt x="700605" y="89148"/>
                    <a:pt x="688574" y="81880"/>
                  </a:cubicBezTo>
                  <a:cubicBezTo>
                    <a:pt x="682205" y="78246"/>
                    <a:pt x="675128" y="77519"/>
                    <a:pt x="668759" y="79336"/>
                  </a:cubicBezTo>
                  <a:close/>
                  <a:moveTo>
                    <a:pt x="440018" y="0"/>
                  </a:moveTo>
                  <a:cubicBezTo>
                    <a:pt x="440018" y="0"/>
                    <a:pt x="440018" y="0"/>
                    <a:pt x="440018" y="49288"/>
                  </a:cubicBezTo>
                  <a:cubicBezTo>
                    <a:pt x="440018" y="63574"/>
                    <a:pt x="452161" y="75717"/>
                    <a:pt x="466448" y="75717"/>
                  </a:cubicBezTo>
                  <a:cubicBezTo>
                    <a:pt x="480734" y="75717"/>
                    <a:pt x="492163" y="63574"/>
                    <a:pt x="492163" y="49288"/>
                  </a:cubicBezTo>
                  <a:cubicBezTo>
                    <a:pt x="492163" y="49288"/>
                    <a:pt x="492163" y="49288"/>
                    <a:pt x="492163" y="0"/>
                  </a:cubicBezTo>
                  <a:cubicBezTo>
                    <a:pt x="730030" y="12143"/>
                    <a:pt x="921466" y="202151"/>
                    <a:pt x="935038" y="440018"/>
                  </a:cubicBezTo>
                  <a:cubicBezTo>
                    <a:pt x="935038" y="440018"/>
                    <a:pt x="935038" y="440018"/>
                    <a:pt x="885751" y="440018"/>
                  </a:cubicBezTo>
                  <a:cubicBezTo>
                    <a:pt x="871464" y="440018"/>
                    <a:pt x="859321" y="451447"/>
                    <a:pt x="859321" y="465733"/>
                  </a:cubicBezTo>
                  <a:cubicBezTo>
                    <a:pt x="859321" y="480020"/>
                    <a:pt x="871464" y="491449"/>
                    <a:pt x="885751" y="491449"/>
                  </a:cubicBezTo>
                  <a:lnTo>
                    <a:pt x="935038" y="491449"/>
                  </a:lnTo>
                  <a:cubicBezTo>
                    <a:pt x="922895" y="730030"/>
                    <a:pt x="732887" y="920752"/>
                    <a:pt x="495020" y="934324"/>
                  </a:cubicBezTo>
                  <a:cubicBezTo>
                    <a:pt x="495020" y="934324"/>
                    <a:pt x="495020" y="934324"/>
                    <a:pt x="495020" y="885036"/>
                  </a:cubicBezTo>
                  <a:cubicBezTo>
                    <a:pt x="495020" y="870750"/>
                    <a:pt x="483591" y="859321"/>
                    <a:pt x="469305" y="859321"/>
                  </a:cubicBezTo>
                  <a:cubicBezTo>
                    <a:pt x="455019" y="859321"/>
                    <a:pt x="442875" y="870750"/>
                    <a:pt x="442875" y="885036"/>
                  </a:cubicBezTo>
                  <a:cubicBezTo>
                    <a:pt x="442875" y="885036"/>
                    <a:pt x="442875" y="885036"/>
                    <a:pt x="442875" y="935038"/>
                  </a:cubicBezTo>
                  <a:cubicBezTo>
                    <a:pt x="205009" y="922895"/>
                    <a:pt x="14287" y="732173"/>
                    <a:pt x="0" y="495020"/>
                  </a:cubicBezTo>
                  <a:cubicBezTo>
                    <a:pt x="0" y="495020"/>
                    <a:pt x="0" y="495020"/>
                    <a:pt x="50002" y="495020"/>
                  </a:cubicBezTo>
                  <a:cubicBezTo>
                    <a:pt x="64289" y="495020"/>
                    <a:pt x="75718" y="482877"/>
                    <a:pt x="75718" y="468591"/>
                  </a:cubicBezTo>
                  <a:cubicBezTo>
                    <a:pt x="75718" y="454304"/>
                    <a:pt x="64289" y="442875"/>
                    <a:pt x="50002" y="442875"/>
                  </a:cubicBezTo>
                  <a:cubicBezTo>
                    <a:pt x="50002" y="442875"/>
                    <a:pt x="50002" y="442875"/>
                    <a:pt x="0" y="442875"/>
                  </a:cubicBezTo>
                  <a:cubicBezTo>
                    <a:pt x="12144" y="205008"/>
                    <a:pt x="202866" y="13572"/>
                    <a:pt x="44001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s-ES" dirty="0"/>
            </a:p>
          </p:txBody>
        </p:sp>
      </p:grpSp>
      <p:grpSp>
        <p:nvGrpSpPr>
          <p:cNvPr id="61" name="bcgIcons_BouncingBall">
            <a:extLst>
              <a:ext uri="{FF2B5EF4-FFF2-40B4-BE49-F238E27FC236}">
                <a16:creationId xmlns="" xmlns:a16="http://schemas.microsoft.com/office/drawing/2014/main" id="{73CB5E9E-6B25-4B89-881A-D63F0947AE7C}"/>
              </a:ext>
            </a:extLst>
          </p:cNvPr>
          <p:cNvGrpSpPr>
            <a:grpSpLocks noChangeAspect="1"/>
          </p:cNvGrpSpPr>
          <p:nvPr/>
        </p:nvGrpSpPr>
        <p:grpSpPr bwMode="auto">
          <a:xfrm>
            <a:off x="9436689" y="1476317"/>
            <a:ext cx="1132711" cy="1133761"/>
            <a:chOff x="1682" y="0"/>
            <a:chExt cx="4316" cy="4320"/>
          </a:xfrm>
        </p:grpSpPr>
        <p:sp>
          <p:nvSpPr>
            <p:cNvPr id="62" name="AutoShape 9">
              <a:extLst>
                <a:ext uri="{FF2B5EF4-FFF2-40B4-BE49-F238E27FC236}">
                  <a16:creationId xmlns="" xmlns:a16="http://schemas.microsoft.com/office/drawing/2014/main" id="{314FC1C6-A7BD-4828-88F2-ACAE7C9C0F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3" name="Freeform 11">
              <a:extLst>
                <a:ext uri="{FF2B5EF4-FFF2-40B4-BE49-F238E27FC236}">
                  <a16:creationId xmlns="" xmlns:a16="http://schemas.microsoft.com/office/drawing/2014/main" id="{DEA90853-7082-4E82-9302-5C4A8A331520}"/>
                </a:ext>
              </a:extLst>
            </p:cNvPr>
            <p:cNvSpPr>
              <a:spLocks noEditPoints="1"/>
            </p:cNvSpPr>
            <p:nvPr/>
          </p:nvSpPr>
          <p:spPr bwMode="auto">
            <a:xfrm>
              <a:off x="3911" y="894"/>
              <a:ext cx="1799" cy="1798"/>
            </a:xfrm>
            <a:custGeom>
              <a:avLst/>
              <a:gdLst>
                <a:gd name="T0" fmla="*/ 316 w 960"/>
                <a:gd name="T1" fmla="*/ 28 h 959"/>
                <a:gd name="T2" fmla="*/ 451 w 960"/>
                <a:gd name="T3" fmla="*/ 0 h 959"/>
                <a:gd name="T4" fmla="*/ 460 w 960"/>
                <a:gd name="T5" fmla="*/ 12 h 959"/>
                <a:gd name="T6" fmla="*/ 478 w 960"/>
                <a:gd name="T7" fmla="*/ 66 h 959"/>
                <a:gd name="T8" fmla="*/ 451 w 960"/>
                <a:gd name="T9" fmla="*/ 116 h 959"/>
                <a:gd name="T10" fmla="*/ 318 w 960"/>
                <a:gd name="T11" fmla="*/ 28 h 959"/>
                <a:gd name="T12" fmla="*/ 316 w 960"/>
                <a:gd name="T13" fmla="*/ 28 h 959"/>
                <a:gd name="T14" fmla="*/ 204 w 960"/>
                <a:gd name="T15" fmla="*/ 158 h 959"/>
                <a:gd name="T16" fmla="*/ 416 w 960"/>
                <a:gd name="T17" fmla="*/ 144 h 959"/>
                <a:gd name="T18" fmla="*/ 239 w 960"/>
                <a:gd name="T19" fmla="*/ 64 h 959"/>
                <a:gd name="T20" fmla="*/ 127 w 960"/>
                <a:gd name="T21" fmla="*/ 154 h 959"/>
                <a:gd name="T22" fmla="*/ 204 w 960"/>
                <a:gd name="T23" fmla="*/ 158 h 959"/>
                <a:gd name="T24" fmla="*/ 568 w 960"/>
                <a:gd name="T25" fmla="*/ 249 h 959"/>
                <a:gd name="T26" fmla="*/ 582 w 960"/>
                <a:gd name="T27" fmla="*/ 267 h 959"/>
                <a:gd name="T28" fmla="*/ 640 w 960"/>
                <a:gd name="T29" fmla="*/ 356 h 959"/>
                <a:gd name="T30" fmla="*/ 791 w 960"/>
                <a:gd name="T31" fmla="*/ 320 h 959"/>
                <a:gd name="T32" fmla="*/ 895 w 960"/>
                <a:gd name="T33" fmla="*/ 396 h 959"/>
                <a:gd name="T34" fmla="*/ 960 w 960"/>
                <a:gd name="T35" fmla="*/ 487 h 959"/>
                <a:gd name="T36" fmla="*/ 960 w 960"/>
                <a:gd name="T37" fmla="*/ 479 h 959"/>
                <a:gd name="T38" fmla="*/ 871 w 960"/>
                <a:gd name="T39" fmla="*/ 201 h 959"/>
                <a:gd name="T40" fmla="*/ 568 w 960"/>
                <a:gd name="T41" fmla="*/ 249 h 959"/>
                <a:gd name="T42" fmla="*/ 482 w 960"/>
                <a:gd name="T43" fmla="*/ 147 h 959"/>
                <a:gd name="T44" fmla="*/ 541 w 960"/>
                <a:gd name="T45" fmla="*/ 213 h 959"/>
                <a:gd name="T46" fmla="*/ 804 w 960"/>
                <a:gd name="T47" fmla="*/ 135 h 959"/>
                <a:gd name="T48" fmla="*/ 816 w 960"/>
                <a:gd name="T49" fmla="*/ 136 h 959"/>
                <a:gd name="T50" fmla="*/ 505 w 960"/>
                <a:gd name="T51" fmla="*/ 0 h 959"/>
                <a:gd name="T52" fmla="*/ 522 w 960"/>
                <a:gd name="T53" fmla="*/ 72 h 959"/>
                <a:gd name="T54" fmla="*/ 482 w 960"/>
                <a:gd name="T55" fmla="*/ 147 h 959"/>
                <a:gd name="T56" fmla="*/ 859 w 960"/>
                <a:gd name="T57" fmla="*/ 420 h 959"/>
                <a:gd name="T58" fmla="*/ 782 w 960"/>
                <a:gd name="T59" fmla="*/ 363 h 959"/>
                <a:gd name="T60" fmla="*/ 661 w 960"/>
                <a:gd name="T61" fmla="*/ 395 h 959"/>
                <a:gd name="T62" fmla="*/ 755 w 960"/>
                <a:gd name="T63" fmla="*/ 707 h 959"/>
                <a:gd name="T64" fmla="*/ 761 w 960"/>
                <a:gd name="T65" fmla="*/ 868 h 959"/>
                <a:gd name="T66" fmla="*/ 954 w 960"/>
                <a:gd name="T67" fmla="*/ 552 h 959"/>
                <a:gd name="T68" fmla="*/ 859 w 960"/>
                <a:gd name="T69" fmla="*/ 420 h 959"/>
                <a:gd name="T70" fmla="*/ 711 w 960"/>
                <a:gd name="T71" fmla="*/ 710 h 959"/>
                <a:gd name="T72" fmla="*/ 625 w 960"/>
                <a:gd name="T73" fmla="*/ 422 h 959"/>
                <a:gd name="T74" fmla="*/ 505 w 960"/>
                <a:gd name="T75" fmla="*/ 719 h 959"/>
                <a:gd name="T76" fmla="*/ 394 w 960"/>
                <a:gd name="T77" fmla="*/ 951 h 959"/>
                <a:gd name="T78" fmla="*/ 480 w 960"/>
                <a:gd name="T79" fmla="*/ 959 h 959"/>
                <a:gd name="T80" fmla="*/ 714 w 960"/>
                <a:gd name="T81" fmla="*/ 898 h 959"/>
                <a:gd name="T82" fmla="*/ 711 w 960"/>
                <a:gd name="T83" fmla="*/ 710 h 959"/>
                <a:gd name="T84" fmla="*/ 144 w 960"/>
                <a:gd name="T85" fmla="*/ 606 h 959"/>
                <a:gd name="T86" fmla="*/ 465 w 960"/>
                <a:gd name="T87" fmla="*/ 258 h 959"/>
                <a:gd name="T88" fmla="*/ 502 w 960"/>
                <a:gd name="T89" fmla="*/ 235 h 959"/>
                <a:gd name="T90" fmla="*/ 449 w 960"/>
                <a:gd name="T91" fmla="*/ 175 h 959"/>
                <a:gd name="T92" fmla="*/ 196 w 960"/>
                <a:gd name="T93" fmla="*/ 201 h 959"/>
                <a:gd name="T94" fmla="*/ 85 w 960"/>
                <a:gd name="T95" fmla="*/ 207 h 959"/>
                <a:gd name="T96" fmla="*/ 0 w 960"/>
                <a:gd name="T97" fmla="*/ 479 h 959"/>
                <a:gd name="T98" fmla="*/ 82 w 960"/>
                <a:gd name="T99" fmla="*/ 747 h 959"/>
                <a:gd name="T100" fmla="*/ 144 w 960"/>
                <a:gd name="T101" fmla="*/ 606 h 959"/>
                <a:gd name="T102" fmla="*/ 461 w 960"/>
                <a:gd name="T103" fmla="*/ 713 h 959"/>
                <a:gd name="T104" fmla="*/ 604 w 960"/>
                <a:gd name="T105" fmla="*/ 382 h 959"/>
                <a:gd name="T106" fmla="*/ 546 w 960"/>
                <a:gd name="T107" fmla="*/ 293 h 959"/>
                <a:gd name="T108" fmla="*/ 530 w 960"/>
                <a:gd name="T109" fmla="*/ 270 h 959"/>
                <a:gd name="T110" fmla="*/ 488 w 960"/>
                <a:gd name="T111" fmla="*/ 295 h 959"/>
                <a:gd name="T112" fmla="*/ 184 w 960"/>
                <a:gd name="T113" fmla="*/ 625 h 959"/>
                <a:gd name="T114" fmla="*/ 115 w 960"/>
                <a:gd name="T115" fmla="*/ 790 h 959"/>
                <a:gd name="T116" fmla="*/ 344 w 960"/>
                <a:gd name="T117" fmla="*/ 939 h 959"/>
                <a:gd name="T118" fmla="*/ 461 w 960"/>
                <a:gd name="T119" fmla="*/ 71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0" h="959">
                  <a:moveTo>
                    <a:pt x="316" y="28"/>
                  </a:moveTo>
                  <a:cubicBezTo>
                    <a:pt x="359" y="12"/>
                    <a:pt x="404" y="3"/>
                    <a:pt x="451" y="0"/>
                  </a:cubicBezTo>
                  <a:cubicBezTo>
                    <a:pt x="454" y="4"/>
                    <a:pt x="457" y="8"/>
                    <a:pt x="460" y="12"/>
                  </a:cubicBezTo>
                  <a:cubicBezTo>
                    <a:pt x="474" y="30"/>
                    <a:pt x="480" y="48"/>
                    <a:pt x="478" y="66"/>
                  </a:cubicBezTo>
                  <a:cubicBezTo>
                    <a:pt x="476" y="86"/>
                    <a:pt x="464" y="103"/>
                    <a:pt x="451" y="116"/>
                  </a:cubicBezTo>
                  <a:cubicBezTo>
                    <a:pt x="405" y="73"/>
                    <a:pt x="360" y="44"/>
                    <a:pt x="318" y="28"/>
                  </a:cubicBezTo>
                  <a:cubicBezTo>
                    <a:pt x="318" y="28"/>
                    <a:pt x="317" y="28"/>
                    <a:pt x="316" y="28"/>
                  </a:cubicBezTo>
                  <a:close/>
                  <a:moveTo>
                    <a:pt x="204" y="158"/>
                  </a:moveTo>
                  <a:cubicBezTo>
                    <a:pt x="318" y="180"/>
                    <a:pt x="374" y="170"/>
                    <a:pt x="416" y="144"/>
                  </a:cubicBezTo>
                  <a:cubicBezTo>
                    <a:pt x="311" y="49"/>
                    <a:pt x="252" y="60"/>
                    <a:pt x="239" y="64"/>
                  </a:cubicBezTo>
                  <a:cubicBezTo>
                    <a:pt x="197" y="88"/>
                    <a:pt x="159" y="119"/>
                    <a:pt x="127" y="154"/>
                  </a:cubicBezTo>
                  <a:cubicBezTo>
                    <a:pt x="151" y="152"/>
                    <a:pt x="177" y="153"/>
                    <a:pt x="204" y="158"/>
                  </a:cubicBezTo>
                  <a:close/>
                  <a:moveTo>
                    <a:pt x="568" y="249"/>
                  </a:moveTo>
                  <a:cubicBezTo>
                    <a:pt x="573" y="255"/>
                    <a:pt x="577" y="260"/>
                    <a:pt x="582" y="267"/>
                  </a:cubicBezTo>
                  <a:cubicBezTo>
                    <a:pt x="604" y="296"/>
                    <a:pt x="623" y="326"/>
                    <a:pt x="640" y="356"/>
                  </a:cubicBezTo>
                  <a:cubicBezTo>
                    <a:pt x="692" y="323"/>
                    <a:pt x="745" y="310"/>
                    <a:pt x="791" y="320"/>
                  </a:cubicBezTo>
                  <a:cubicBezTo>
                    <a:pt x="833" y="329"/>
                    <a:pt x="868" y="354"/>
                    <a:pt x="895" y="396"/>
                  </a:cubicBezTo>
                  <a:cubicBezTo>
                    <a:pt x="919" y="432"/>
                    <a:pt x="942" y="463"/>
                    <a:pt x="960" y="487"/>
                  </a:cubicBezTo>
                  <a:cubicBezTo>
                    <a:pt x="960" y="484"/>
                    <a:pt x="960" y="482"/>
                    <a:pt x="960" y="479"/>
                  </a:cubicBezTo>
                  <a:cubicBezTo>
                    <a:pt x="960" y="376"/>
                    <a:pt x="927" y="280"/>
                    <a:pt x="871" y="201"/>
                  </a:cubicBezTo>
                  <a:cubicBezTo>
                    <a:pt x="858" y="190"/>
                    <a:pt x="778" y="137"/>
                    <a:pt x="568" y="249"/>
                  </a:cubicBezTo>
                  <a:close/>
                  <a:moveTo>
                    <a:pt x="482" y="147"/>
                  </a:moveTo>
                  <a:cubicBezTo>
                    <a:pt x="502" y="167"/>
                    <a:pt x="521" y="189"/>
                    <a:pt x="541" y="213"/>
                  </a:cubicBezTo>
                  <a:cubicBezTo>
                    <a:pt x="644" y="158"/>
                    <a:pt x="732" y="132"/>
                    <a:pt x="804" y="135"/>
                  </a:cubicBezTo>
                  <a:cubicBezTo>
                    <a:pt x="808" y="135"/>
                    <a:pt x="812" y="136"/>
                    <a:pt x="816" y="136"/>
                  </a:cubicBezTo>
                  <a:cubicBezTo>
                    <a:pt x="735" y="57"/>
                    <a:pt x="626" y="6"/>
                    <a:pt x="505" y="0"/>
                  </a:cubicBezTo>
                  <a:cubicBezTo>
                    <a:pt x="519" y="23"/>
                    <a:pt x="525" y="47"/>
                    <a:pt x="522" y="72"/>
                  </a:cubicBezTo>
                  <a:cubicBezTo>
                    <a:pt x="519" y="98"/>
                    <a:pt x="505" y="124"/>
                    <a:pt x="482" y="147"/>
                  </a:cubicBezTo>
                  <a:close/>
                  <a:moveTo>
                    <a:pt x="859" y="420"/>
                  </a:moveTo>
                  <a:cubicBezTo>
                    <a:pt x="838" y="388"/>
                    <a:pt x="812" y="369"/>
                    <a:pt x="782" y="363"/>
                  </a:cubicBezTo>
                  <a:cubicBezTo>
                    <a:pt x="746" y="356"/>
                    <a:pt x="704" y="367"/>
                    <a:pt x="661" y="395"/>
                  </a:cubicBezTo>
                  <a:cubicBezTo>
                    <a:pt x="720" y="512"/>
                    <a:pt x="745" y="624"/>
                    <a:pt x="755" y="707"/>
                  </a:cubicBezTo>
                  <a:cubicBezTo>
                    <a:pt x="763" y="775"/>
                    <a:pt x="763" y="831"/>
                    <a:pt x="761" y="868"/>
                  </a:cubicBezTo>
                  <a:cubicBezTo>
                    <a:pt x="863" y="794"/>
                    <a:pt x="935" y="681"/>
                    <a:pt x="954" y="552"/>
                  </a:cubicBezTo>
                  <a:cubicBezTo>
                    <a:pt x="935" y="528"/>
                    <a:pt x="899" y="481"/>
                    <a:pt x="859" y="420"/>
                  </a:cubicBezTo>
                  <a:close/>
                  <a:moveTo>
                    <a:pt x="711" y="710"/>
                  </a:moveTo>
                  <a:cubicBezTo>
                    <a:pt x="702" y="634"/>
                    <a:pt x="679" y="531"/>
                    <a:pt x="625" y="422"/>
                  </a:cubicBezTo>
                  <a:cubicBezTo>
                    <a:pt x="569" y="472"/>
                    <a:pt x="528" y="549"/>
                    <a:pt x="505" y="719"/>
                  </a:cubicBezTo>
                  <a:cubicBezTo>
                    <a:pt x="490" y="820"/>
                    <a:pt x="442" y="897"/>
                    <a:pt x="394" y="951"/>
                  </a:cubicBezTo>
                  <a:cubicBezTo>
                    <a:pt x="422" y="956"/>
                    <a:pt x="451" y="959"/>
                    <a:pt x="480" y="959"/>
                  </a:cubicBezTo>
                  <a:cubicBezTo>
                    <a:pt x="565" y="959"/>
                    <a:pt x="645" y="937"/>
                    <a:pt x="714" y="898"/>
                  </a:cubicBezTo>
                  <a:cubicBezTo>
                    <a:pt x="717" y="872"/>
                    <a:pt x="723" y="802"/>
                    <a:pt x="711" y="710"/>
                  </a:cubicBezTo>
                  <a:close/>
                  <a:moveTo>
                    <a:pt x="144" y="606"/>
                  </a:moveTo>
                  <a:cubicBezTo>
                    <a:pt x="197" y="506"/>
                    <a:pt x="297" y="365"/>
                    <a:pt x="465" y="258"/>
                  </a:cubicBezTo>
                  <a:cubicBezTo>
                    <a:pt x="477" y="250"/>
                    <a:pt x="490" y="243"/>
                    <a:pt x="502" y="235"/>
                  </a:cubicBezTo>
                  <a:cubicBezTo>
                    <a:pt x="483" y="213"/>
                    <a:pt x="465" y="193"/>
                    <a:pt x="449" y="175"/>
                  </a:cubicBezTo>
                  <a:cubicBezTo>
                    <a:pt x="387" y="217"/>
                    <a:pt x="315" y="224"/>
                    <a:pt x="196" y="201"/>
                  </a:cubicBezTo>
                  <a:cubicBezTo>
                    <a:pt x="155" y="194"/>
                    <a:pt x="117" y="198"/>
                    <a:pt x="85" y="207"/>
                  </a:cubicBezTo>
                  <a:cubicBezTo>
                    <a:pt x="31" y="284"/>
                    <a:pt x="0" y="378"/>
                    <a:pt x="0" y="479"/>
                  </a:cubicBezTo>
                  <a:cubicBezTo>
                    <a:pt x="0" y="578"/>
                    <a:pt x="30" y="671"/>
                    <a:pt x="82" y="747"/>
                  </a:cubicBezTo>
                  <a:cubicBezTo>
                    <a:pt x="94" y="712"/>
                    <a:pt x="113" y="663"/>
                    <a:pt x="144" y="606"/>
                  </a:cubicBezTo>
                  <a:close/>
                  <a:moveTo>
                    <a:pt x="461" y="713"/>
                  </a:moveTo>
                  <a:cubicBezTo>
                    <a:pt x="488" y="523"/>
                    <a:pt x="537" y="437"/>
                    <a:pt x="604" y="382"/>
                  </a:cubicBezTo>
                  <a:cubicBezTo>
                    <a:pt x="587" y="352"/>
                    <a:pt x="568" y="322"/>
                    <a:pt x="546" y="293"/>
                  </a:cubicBezTo>
                  <a:cubicBezTo>
                    <a:pt x="541" y="285"/>
                    <a:pt x="535" y="278"/>
                    <a:pt x="530" y="270"/>
                  </a:cubicBezTo>
                  <a:cubicBezTo>
                    <a:pt x="516" y="278"/>
                    <a:pt x="503" y="286"/>
                    <a:pt x="488" y="295"/>
                  </a:cubicBezTo>
                  <a:cubicBezTo>
                    <a:pt x="329" y="397"/>
                    <a:pt x="234" y="531"/>
                    <a:pt x="184" y="625"/>
                  </a:cubicBezTo>
                  <a:cubicBezTo>
                    <a:pt x="144" y="699"/>
                    <a:pt x="123" y="760"/>
                    <a:pt x="115" y="790"/>
                  </a:cubicBezTo>
                  <a:cubicBezTo>
                    <a:pt x="175" y="860"/>
                    <a:pt x="254" y="912"/>
                    <a:pt x="344" y="939"/>
                  </a:cubicBezTo>
                  <a:cubicBezTo>
                    <a:pt x="392" y="890"/>
                    <a:pt x="447" y="814"/>
                    <a:pt x="461" y="7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4" name="Freeform 12">
              <a:extLst>
                <a:ext uri="{FF2B5EF4-FFF2-40B4-BE49-F238E27FC236}">
                  <a16:creationId xmlns="" xmlns:a16="http://schemas.microsoft.com/office/drawing/2014/main" id="{9AAB4B62-724B-4882-80A0-68DB01E88F6E}"/>
                </a:ext>
              </a:extLst>
            </p:cNvPr>
            <p:cNvSpPr>
              <a:spLocks noEditPoints="1"/>
            </p:cNvSpPr>
            <p:nvPr/>
          </p:nvSpPr>
          <p:spPr bwMode="auto">
            <a:xfrm>
              <a:off x="1866" y="727"/>
              <a:ext cx="4008" cy="3143"/>
            </a:xfrm>
            <a:custGeom>
              <a:avLst/>
              <a:gdLst>
                <a:gd name="T0" fmla="*/ 1210 w 2140"/>
                <a:gd name="T1" fmla="*/ 1061 h 1676"/>
                <a:gd name="T2" fmla="*/ 1022 w 2140"/>
                <a:gd name="T3" fmla="*/ 1204 h 1676"/>
                <a:gd name="T4" fmla="*/ 755 w 2140"/>
                <a:gd name="T5" fmla="*/ 1659 h 1676"/>
                <a:gd name="T6" fmla="*/ 734 w 2140"/>
                <a:gd name="T7" fmla="*/ 1676 h 1676"/>
                <a:gd name="T8" fmla="*/ 734 w 2140"/>
                <a:gd name="T9" fmla="*/ 1676 h 1676"/>
                <a:gd name="T10" fmla="*/ 713 w 2140"/>
                <a:gd name="T11" fmla="*/ 1660 h 1676"/>
                <a:gd name="T12" fmla="*/ 444 w 2140"/>
                <a:gd name="T13" fmla="*/ 1035 h 1676"/>
                <a:gd name="T14" fmla="*/ 19 w 2140"/>
                <a:gd name="T15" fmla="*/ 676 h 1676"/>
                <a:gd name="T16" fmla="*/ 4 w 2140"/>
                <a:gd name="T17" fmla="*/ 649 h 1676"/>
                <a:gd name="T18" fmla="*/ 31 w 2140"/>
                <a:gd name="T19" fmla="*/ 634 h 1676"/>
                <a:gd name="T20" fmla="*/ 190 w 2140"/>
                <a:gd name="T21" fmla="*/ 710 h 1676"/>
                <a:gd name="T22" fmla="*/ 482 w 2140"/>
                <a:gd name="T23" fmla="*/ 1013 h 1676"/>
                <a:gd name="T24" fmla="*/ 733 w 2140"/>
                <a:gd name="T25" fmla="*/ 1578 h 1676"/>
                <a:gd name="T26" fmla="*/ 993 w 2140"/>
                <a:gd name="T27" fmla="*/ 1172 h 1676"/>
                <a:gd name="T28" fmla="*/ 1173 w 2140"/>
                <a:gd name="T29" fmla="*/ 1032 h 1676"/>
                <a:gd name="T30" fmla="*/ 1210 w 2140"/>
                <a:gd name="T31" fmla="*/ 1061 h 1676"/>
                <a:gd name="T32" fmla="*/ 2140 w 2140"/>
                <a:gd name="T33" fmla="*/ 568 h 1676"/>
                <a:gd name="T34" fmla="*/ 1572 w 2140"/>
                <a:gd name="T35" fmla="*/ 0 h 1676"/>
                <a:gd name="T36" fmla="*/ 1004 w 2140"/>
                <a:gd name="T37" fmla="*/ 568 h 1676"/>
                <a:gd name="T38" fmla="*/ 1572 w 2140"/>
                <a:gd name="T39" fmla="*/ 1136 h 1676"/>
                <a:gd name="T40" fmla="*/ 2140 w 2140"/>
                <a:gd name="T41" fmla="*/ 568 h 1676"/>
                <a:gd name="T42" fmla="*/ 2096 w 2140"/>
                <a:gd name="T43" fmla="*/ 568 h 1676"/>
                <a:gd name="T44" fmla="*/ 1572 w 2140"/>
                <a:gd name="T45" fmla="*/ 1092 h 1676"/>
                <a:gd name="T46" fmla="*/ 1048 w 2140"/>
                <a:gd name="T47" fmla="*/ 568 h 1676"/>
                <a:gd name="T48" fmla="*/ 1572 w 2140"/>
                <a:gd name="T49" fmla="*/ 44 h 1676"/>
                <a:gd name="T50" fmla="*/ 2096 w 2140"/>
                <a:gd name="T51" fmla="*/ 568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0" h="1676">
                  <a:moveTo>
                    <a:pt x="1210" y="1061"/>
                  </a:moveTo>
                  <a:cubicBezTo>
                    <a:pt x="1169" y="1085"/>
                    <a:pt x="1108" y="1128"/>
                    <a:pt x="1022" y="1204"/>
                  </a:cubicBezTo>
                  <a:cubicBezTo>
                    <a:pt x="818" y="1387"/>
                    <a:pt x="756" y="1656"/>
                    <a:pt x="755" y="1659"/>
                  </a:cubicBezTo>
                  <a:cubicBezTo>
                    <a:pt x="753" y="1668"/>
                    <a:pt x="744" y="1675"/>
                    <a:pt x="734" y="1676"/>
                  </a:cubicBezTo>
                  <a:cubicBezTo>
                    <a:pt x="734" y="1676"/>
                    <a:pt x="734" y="1676"/>
                    <a:pt x="734" y="1676"/>
                  </a:cubicBezTo>
                  <a:cubicBezTo>
                    <a:pt x="724" y="1676"/>
                    <a:pt x="715" y="1669"/>
                    <a:pt x="713" y="1660"/>
                  </a:cubicBezTo>
                  <a:cubicBezTo>
                    <a:pt x="712" y="1656"/>
                    <a:pt x="616" y="1326"/>
                    <a:pt x="444" y="1035"/>
                  </a:cubicBezTo>
                  <a:cubicBezTo>
                    <a:pt x="276" y="749"/>
                    <a:pt x="21" y="677"/>
                    <a:pt x="19" y="676"/>
                  </a:cubicBezTo>
                  <a:cubicBezTo>
                    <a:pt x="7" y="673"/>
                    <a:pt x="0" y="661"/>
                    <a:pt x="4" y="649"/>
                  </a:cubicBezTo>
                  <a:cubicBezTo>
                    <a:pt x="7" y="637"/>
                    <a:pt x="19" y="630"/>
                    <a:pt x="31" y="634"/>
                  </a:cubicBezTo>
                  <a:cubicBezTo>
                    <a:pt x="33" y="634"/>
                    <a:pt x="101" y="653"/>
                    <a:pt x="190" y="710"/>
                  </a:cubicBezTo>
                  <a:cubicBezTo>
                    <a:pt x="272" y="761"/>
                    <a:pt x="390" y="856"/>
                    <a:pt x="482" y="1013"/>
                  </a:cubicBezTo>
                  <a:cubicBezTo>
                    <a:pt x="609" y="1228"/>
                    <a:pt x="695" y="1464"/>
                    <a:pt x="733" y="1578"/>
                  </a:cubicBezTo>
                  <a:cubicBezTo>
                    <a:pt x="766" y="1482"/>
                    <a:pt x="842" y="1307"/>
                    <a:pt x="993" y="1172"/>
                  </a:cubicBezTo>
                  <a:cubicBezTo>
                    <a:pt x="1070" y="1102"/>
                    <a:pt x="1129" y="1059"/>
                    <a:pt x="1173" y="1032"/>
                  </a:cubicBezTo>
                  <a:cubicBezTo>
                    <a:pt x="1185" y="1042"/>
                    <a:pt x="1198" y="1052"/>
                    <a:pt x="1210" y="1061"/>
                  </a:cubicBezTo>
                  <a:close/>
                  <a:moveTo>
                    <a:pt x="2140" y="568"/>
                  </a:moveTo>
                  <a:cubicBezTo>
                    <a:pt x="2140" y="255"/>
                    <a:pt x="1885" y="0"/>
                    <a:pt x="1572" y="0"/>
                  </a:cubicBezTo>
                  <a:cubicBezTo>
                    <a:pt x="1259" y="0"/>
                    <a:pt x="1004" y="255"/>
                    <a:pt x="1004" y="568"/>
                  </a:cubicBezTo>
                  <a:cubicBezTo>
                    <a:pt x="1004" y="881"/>
                    <a:pt x="1259" y="1136"/>
                    <a:pt x="1572" y="1136"/>
                  </a:cubicBezTo>
                  <a:cubicBezTo>
                    <a:pt x="1885" y="1136"/>
                    <a:pt x="2140" y="881"/>
                    <a:pt x="2140" y="568"/>
                  </a:cubicBezTo>
                  <a:close/>
                  <a:moveTo>
                    <a:pt x="2096" y="568"/>
                  </a:moveTo>
                  <a:cubicBezTo>
                    <a:pt x="2096" y="857"/>
                    <a:pt x="1861" y="1092"/>
                    <a:pt x="1572" y="1092"/>
                  </a:cubicBezTo>
                  <a:cubicBezTo>
                    <a:pt x="1283" y="1092"/>
                    <a:pt x="1048" y="857"/>
                    <a:pt x="1048" y="568"/>
                  </a:cubicBezTo>
                  <a:cubicBezTo>
                    <a:pt x="1048" y="279"/>
                    <a:pt x="1283" y="44"/>
                    <a:pt x="1572" y="44"/>
                  </a:cubicBezTo>
                  <a:cubicBezTo>
                    <a:pt x="1861" y="44"/>
                    <a:pt x="2096" y="279"/>
                    <a:pt x="2096" y="56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5" name="ee4pContent1"/>
          <p:cNvSpPr txBox="1"/>
          <p:nvPr/>
        </p:nvSpPr>
        <p:spPr>
          <a:xfrm>
            <a:off x="630150" y="3506208"/>
            <a:ext cx="2916619" cy="12907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s-ES" sz="1600" dirty="0"/>
              <a:t>Proteger a las personas, garantizar la continuidad  y mitigar las pérdidas de corto plazo</a:t>
            </a:r>
          </a:p>
        </p:txBody>
      </p:sp>
      <p:sp>
        <p:nvSpPr>
          <p:cNvPr id="8" name="ee4pHeader1"/>
          <p:cNvSpPr txBox="1"/>
          <p:nvPr/>
        </p:nvSpPr>
        <p:spPr>
          <a:xfrm>
            <a:off x="630151" y="2778813"/>
            <a:ext cx="2916619" cy="658368"/>
          </a:xfrm>
          <a:prstGeom prst="rect">
            <a:avLst/>
          </a:prstGeom>
          <a:noFill/>
          <a:ln cap="rnd">
            <a:noFill/>
          </a:ln>
        </p:spPr>
        <p:txBody>
          <a:bodyPr wrap="square" lIns="0" tIns="0" rIns="0" bIns="0" rtlCol="0" anchor="b" anchorCtr="0">
            <a:noAutofit/>
          </a:bodyPr>
          <a:lstStyle/>
          <a:p>
            <a:pPr marL="0" lvl="3"/>
            <a:r>
              <a:rPr lang="es-ES" sz="2000" dirty="0">
                <a:solidFill>
                  <a:srgbClr val="30C1D7"/>
                </a:solidFill>
              </a:rPr>
              <a:t>Inicio de la crisis: </a:t>
            </a:r>
          </a:p>
          <a:p>
            <a:pPr marL="0" lvl="3"/>
            <a:r>
              <a:rPr lang="es-ES" sz="2000" dirty="0">
                <a:solidFill>
                  <a:srgbClr val="29BA74"/>
                </a:solidFill>
              </a:rPr>
              <a:t>Abordar las prioridades inmediatas</a:t>
            </a:r>
          </a:p>
        </p:txBody>
      </p:sp>
      <p:sp>
        <p:nvSpPr>
          <p:cNvPr id="6" name="ee4pContent2"/>
          <p:cNvSpPr txBox="1"/>
          <p:nvPr/>
        </p:nvSpPr>
        <p:spPr>
          <a:xfrm>
            <a:off x="8271291" y="3506208"/>
            <a:ext cx="3463509" cy="12907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s-ES" sz="1600" dirty="0">
                <a:solidFill>
                  <a:srgbClr val="575757"/>
                </a:solidFill>
              </a:rPr>
              <a:t>Generación de ventajas competitivas aprovechando las lecciones aprendidas para aumentar la resiliencia de la organización</a:t>
            </a:r>
            <a:endParaRPr lang="es-ES" sz="1600" dirty="0"/>
          </a:p>
        </p:txBody>
      </p:sp>
      <p:sp>
        <p:nvSpPr>
          <p:cNvPr id="9" name="ee4pHeader2"/>
          <p:cNvSpPr txBox="1"/>
          <p:nvPr/>
        </p:nvSpPr>
        <p:spPr>
          <a:xfrm>
            <a:off x="8271291" y="2778813"/>
            <a:ext cx="3690050" cy="658368"/>
          </a:xfrm>
          <a:prstGeom prst="rect">
            <a:avLst/>
          </a:prstGeom>
          <a:noFill/>
          <a:ln cap="rnd">
            <a:noFill/>
          </a:ln>
        </p:spPr>
        <p:txBody>
          <a:bodyPr wrap="square" lIns="0" tIns="0" rIns="0" bIns="0" rtlCol="0" anchor="b" anchorCtr="0">
            <a:noAutofit/>
          </a:bodyPr>
          <a:lstStyle/>
          <a:p>
            <a:pPr marL="0" lvl="3"/>
            <a:r>
              <a:rPr lang="es-ES" sz="2000" dirty="0">
                <a:solidFill>
                  <a:srgbClr val="30C1D7"/>
                </a:solidFill>
              </a:rPr>
              <a:t>Post-Crisis: </a:t>
            </a:r>
          </a:p>
          <a:p>
            <a:pPr marL="0" lvl="3"/>
            <a:r>
              <a:rPr lang="es-ES" sz="2000" dirty="0">
                <a:solidFill>
                  <a:schemeClr val="tx2"/>
                </a:solidFill>
              </a:rPr>
              <a:t>Buscar mejoras estructurales</a:t>
            </a:r>
          </a:p>
        </p:txBody>
      </p:sp>
      <p:sp>
        <p:nvSpPr>
          <p:cNvPr id="37" name="ee4pContent2"/>
          <p:cNvSpPr txBox="1"/>
          <p:nvPr/>
        </p:nvSpPr>
        <p:spPr>
          <a:xfrm>
            <a:off x="4448604" y="3506208"/>
            <a:ext cx="3291909" cy="12907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s-ES" sz="1600" dirty="0"/>
              <a:t>Búsqueda proactiva de repunte en la demanda y volver a encausar el negocio</a:t>
            </a:r>
          </a:p>
        </p:txBody>
      </p:sp>
      <p:sp>
        <p:nvSpPr>
          <p:cNvPr id="43" name="ee4pHeader2"/>
          <p:cNvSpPr txBox="1"/>
          <p:nvPr/>
        </p:nvSpPr>
        <p:spPr>
          <a:xfrm>
            <a:off x="4448604" y="2778813"/>
            <a:ext cx="3291909" cy="658368"/>
          </a:xfrm>
          <a:prstGeom prst="rect">
            <a:avLst/>
          </a:prstGeom>
          <a:noFill/>
          <a:ln cap="rnd">
            <a:noFill/>
          </a:ln>
        </p:spPr>
        <p:txBody>
          <a:bodyPr wrap="square" lIns="0" tIns="0" rIns="0" bIns="0" rtlCol="0" anchor="b" anchorCtr="0">
            <a:noAutofit/>
          </a:bodyPr>
          <a:lstStyle/>
          <a:p>
            <a:pPr marL="0" lvl="3"/>
            <a:r>
              <a:rPr lang="es-ES" sz="2000" dirty="0">
                <a:solidFill>
                  <a:srgbClr val="30C1D7"/>
                </a:solidFill>
              </a:rPr>
              <a:t>Pre recuperación: </a:t>
            </a:r>
          </a:p>
          <a:p>
            <a:pPr marL="0" lvl="3"/>
            <a:r>
              <a:rPr lang="es-ES" sz="2000" dirty="0">
                <a:solidFill>
                  <a:schemeClr val="tx2"/>
                </a:solidFill>
              </a:rPr>
              <a:t>Prepararse para el repunte</a:t>
            </a:r>
          </a:p>
        </p:txBody>
      </p:sp>
      <p:grpSp>
        <p:nvGrpSpPr>
          <p:cNvPr id="47" name="bcgIcons_WorldIssues">
            <a:extLst>
              <a:ext uri="{FF2B5EF4-FFF2-40B4-BE49-F238E27FC236}">
                <a16:creationId xmlns="" xmlns:a16="http://schemas.microsoft.com/office/drawing/2014/main" id="{6AA17DF2-6989-4851-B19F-7C75646C143E}"/>
              </a:ext>
            </a:extLst>
          </p:cNvPr>
          <p:cNvGrpSpPr>
            <a:grpSpLocks noChangeAspect="1"/>
          </p:cNvGrpSpPr>
          <p:nvPr/>
        </p:nvGrpSpPr>
        <p:grpSpPr bwMode="auto">
          <a:xfrm>
            <a:off x="5308529" y="1511777"/>
            <a:ext cx="1061856" cy="1062840"/>
            <a:chOff x="1682" y="0"/>
            <a:chExt cx="4316" cy="4320"/>
          </a:xfrm>
        </p:grpSpPr>
        <p:sp>
          <p:nvSpPr>
            <p:cNvPr id="48" name="AutoShape 33">
              <a:extLst>
                <a:ext uri="{FF2B5EF4-FFF2-40B4-BE49-F238E27FC236}">
                  <a16:creationId xmlns="" xmlns:a16="http://schemas.microsoft.com/office/drawing/2014/main" id="{763BE634-A815-48F4-A25F-98ED0FF0E88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9" name="Freeform 35">
              <a:extLst>
                <a:ext uri="{FF2B5EF4-FFF2-40B4-BE49-F238E27FC236}">
                  <a16:creationId xmlns="" xmlns:a16="http://schemas.microsoft.com/office/drawing/2014/main" id="{D206F901-0DE0-497B-A708-6E37D8B7149F}"/>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0" name="Freeform 36">
              <a:extLst>
                <a:ext uri="{FF2B5EF4-FFF2-40B4-BE49-F238E27FC236}">
                  <a16:creationId xmlns="" xmlns:a16="http://schemas.microsoft.com/office/drawing/2014/main" id="{9696A573-BBB9-4EFC-9B8D-9D643BACD2FD}"/>
                </a:ext>
              </a:extLst>
            </p:cNvPr>
            <p:cNvSpPr>
              <a:spLocks noEditPoints="1"/>
            </p:cNvSpPr>
            <p:nvPr/>
          </p:nvSpPr>
          <p:spPr bwMode="auto">
            <a:xfrm>
              <a:off x="2293" y="613"/>
              <a:ext cx="3094" cy="3098"/>
            </a:xfrm>
            <a:custGeom>
              <a:avLst/>
              <a:gdLst>
                <a:gd name="T0" fmla="*/ 1408 w 1652"/>
                <a:gd name="T1" fmla="*/ 241 h 1652"/>
                <a:gd name="T2" fmla="*/ 1189 w 1652"/>
                <a:gd name="T3" fmla="*/ 209 h 1652"/>
                <a:gd name="T4" fmla="*/ 1213 w 1652"/>
                <a:gd name="T5" fmla="*/ 366 h 1652"/>
                <a:gd name="T6" fmla="*/ 946 w 1652"/>
                <a:gd name="T7" fmla="*/ 488 h 1652"/>
                <a:gd name="T8" fmla="*/ 1291 w 1652"/>
                <a:gd name="T9" fmla="*/ 804 h 1652"/>
                <a:gd name="T10" fmla="*/ 946 w 1652"/>
                <a:gd name="T11" fmla="*/ 177 h 1652"/>
                <a:gd name="T12" fmla="*/ 1197 w 1652"/>
                <a:gd name="T13" fmla="*/ 325 h 1652"/>
                <a:gd name="T14" fmla="*/ 909 w 1652"/>
                <a:gd name="T15" fmla="*/ 4 h 1652"/>
                <a:gd name="T16" fmla="*/ 848 w 1652"/>
                <a:gd name="T17" fmla="*/ 177 h 1652"/>
                <a:gd name="T18" fmla="*/ 439 w 1652"/>
                <a:gd name="T19" fmla="*/ 366 h 1652"/>
                <a:gd name="T20" fmla="*/ 729 w 1652"/>
                <a:gd name="T21" fmla="*/ 804 h 1652"/>
                <a:gd name="T22" fmla="*/ 702 w 1652"/>
                <a:gd name="T23" fmla="*/ 412 h 1652"/>
                <a:gd name="T24" fmla="*/ 1335 w 1652"/>
                <a:gd name="T25" fmla="*/ 804 h 1652"/>
                <a:gd name="T26" fmla="*/ 1440 w 1652"/>
                <a:gd name="T27" fmla="*/ 274 h 1652"/>
                <a:gd name="T28" fmla="*/ 1335 w 1652"/>
                <a:gd name="T29" fmla="*/ 804 h 1652"/>
                <a:gd name="T30" fmla="*/ 913 w 1652"/>
                <a:gd name="T31" fmla="*/ 848 h 1652"/>
                <a:gd name="T32" fmla="*/ 880 w 1652"/>
                <a:gd name="T33" fmla="*/ 1070 h 1652"/>
                <a:gd name="T34" fmla="*/ 848 w 1652"/>
                <a:gd name="T35" fmla="*/ 1175 h 1652"/>
                <a:gd name="T36" fmla="*/ 951 w 1652"/>
                <a:gd name="T37" fmla="*/ 1240 h 1652"/>
                <a:gd name="T38" fmla="*/ 1291 w 1652"/>
                <a:gd name="T39" fmla="*/ 848 h 1652"/>
                <a:gd name="T40" fmla="*/ 701 w 1652"/>
                <a:gd name="T41" fmla="*/ 1240 h 1652"/>
                <a:gd name="T42" fmla="*/ 804 w 1652"/>
                <a:gd name="T43" fmla="*/ 1175 h 1652"/>
                <a:gd name="T44" fmla="*/ 767 w 1652"/>
                <a:gd name="T45" fmla="*/ 1070 h 1652"/>
                <a:gd name="T46" fmla="*/ 735 w 1652"/>
                <a:gd name="T47" fmla="*/ 848 h 1652"/>
                <a:gd name="T48" fmla="*/ 439 w 1652"/>
                <a:gd name="T49" fmla="*/ 1286 h 1652"/>
                <a:gd name="T50" fmla="*/ 1197 w 1652"/>
                <a:gd name="T51" fmla="*/ 1327 h 1652"/>
                <a:gd name="T52" fmla="*/ 976 w 1652"/>
                <a:gd name="T53" fmla="*/ 1324 h 1652"/>
                <a:gd name="T54" fmla="*/ 848 w 1652"/>
                <a:gd name="T55" fmla="*/ 1474 h 1652"/>
                <a:gd name="T56" fmla="*/ 909 w 1652"/>
                <a:gd name="T57" fmla="*/ 1648 h 1652"/>
                <a:gd name="T58" fmla="*/ 1335 w 1652"/>
                <a:gd name="T59" fmla="*/ 848 h 1652"/>
                <a:gd name="T60" fmla="*/ 1440 w 1652"/>
                <a:gd name="T61" fmla="*/ 1378 h 1652"/>
                <a:gd name="T62" fmla="*/ 1335 w 1652"/>
                <a:gd name="T63" fmla="*/ 848 h 1652"/>
                <a:gd name="T64" fmla="*/ 676 w 1652"/>
                <a:gd name="T65" fmla="*/ 1324 h 1652"/>
                <a:gd name="T66" fmla="*/ 455 w 1652"/>
                <a:gd name="T67" fmla="*/ 1327 h 1652"/>
                <a:gd name="T68" fmla="*/ 743 w 1652"/>
                <a:gd name="T69" fmla="*/ 1648 h 1652"/>
                <a:gd name="T70" fmla="*/ 804 w 1652"/>
                <a:gd name="T71" fmla="*/ 1474 h 1652"/>
                <a:gd name="T72" fmla="*/ 463 w 1652"/>
                <a:gd name="T73" fmla="*/ 1443 h 1652"/>
                <a:gd name="T74" fmla="*/ 244 w 1652"/>
                <a:gd name="T75" fmla="*/ 1411 h 1652"/>
                <a:gd name="T76" fmla="*/ 463 w 1652"/>
                <a:gd name="T77" fmla="*/ 1443 h 1652"/>
                <a:gd name="T78" fmla="*/ 1189 w 1652"/>
                <a:gd name="T79" fmla="*/ 1443 h 1652"/>
                <a:gd name="T80" fmla="*/ 1408 w 1652"/>
                <a:gd name="T81" fmla="*/ 1411 h 1652"/>
                <a:gd name="T82" fmla="*/ 317 w 1652"/>
                <a:gd name="T83" fmla="*/ 848 h 1652"/>
                <a:gd name="T84" fmla="*/ 212 w 1652"/>
                <a:gd name="T85" fmla="*/ 1378 h 1652"/>
                <a:gd name="T86" fmla="*/ 317 w 1652"/>
                <a:gd name="T87" fmla="*/ 848 h 1652"/>
                <a:gd name="T88" fmla="*/ 743 w 1652"/>
                <a:gd name="T89" fmla="*/ 4 h 1652"/>
                <a:gd name="T90" fmla="*/ 455 w 1652"/>
                <a:gd name="T91" fmla="*/ 325 h 1652"/>
                <a:gd name="T92" fmla="*/ 702 w 1652"/>
                <a:gd name="T93" fmla="*/ 177 h 1652"/>
                <a:gd name="T94" fmla="*/ 804 w 1652"/>
                <a:gd name="T95" fmla="*/ 0 h 1652"/>
                <a:gd name="T96" fmla="*/ 463 w 1652"/>
                <a:gd name="T97" fmla="*/ 209 h 1652"/>
                <a:gd name="T98" fmla="*/ 244 w 1652"/>
                <a:gd name="T99" fmla="*/ 241 h 1652"/>
                <a:gd name="T100" fmla="*/ 317 w 1652"/>
                <a:gd name="T101" fmla="*/ 804 h 1652"/>
                <a:gd name="T102" fmla="*/ 212 w 1652"/>
                <a:gd name="T103" fmla="*/ 274 h 1652"/>
                <a:gd name="T104" fmla="*/ 317 w 1652"/>
                <a:gd name="T105" fmla="*/ 804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52" h="1652">
                  <a:moveTo>
                    <a:pt x="1042" y="29"/>
                  </a:moveTo>
                  <a:cubicBezTo>
                    <a:pt x="1182" y="67"/>
                    <a:pt x="1308" y="141"/>
                    <a:pt x="1408" y="241"/>
                  </a:cubicBezTo>
                  <a:cubicBezTo>
                    <a:pt x="1357" y="269"/>
                    <a:pt x="1300" y="292"/>
                    <a:pt x="1239" y="312"/>
                  </a:cubicBezTo>
                  <a:cubicBezTo>
                    <a:pt x="1224" y="276"/>
                    <a:pt x="1208" y="241"/>
                    <a:pt x="1189" y="209"/>
                  </a:cubicBezTo>
                  <a:cubicBezTo>
                    <a:pt x="1146" y="133"/>
                    <a:pt x="1096" y="73"/>
                    <a:pt x="1042" y="29"/>
                  </a:cubicBezTo>
                  <a:close/>
                  <a:moveTo>
                    <a:pt x="1213" y="366"/>
                  </a:moveTo>
                  <a:cubicBezTo>
                    <a:pt x="1130" y="389"/>
                    <a:pt x="1040" y="405"/>
                    <a:pt x="946" y="412"/>
                  </a:cubicBezTo>
                  <a:cubicBezTo>
                    <a:pt x="946" y="488"/>
                    <a:pt x="946" y="488"/>
                    <a:pt x="946" y="488"/>
                  </a:cubicBezTo>
                  <a:cubicBezTo>
                    <a:pt x="946" y="557"/>
                    <a:pt x="937" y="661"/>
                    <a:pt x="919" y="804"/>
                  </a:cubicBezTo>
                  <a:cubicBezTo>
                    <a:pt x="1291" y="804"/>
                    <a:pt x="1291" y="804"/>
                    <a:pt x="1291" y="804"/>
                  </a:cubicBezTo>
                  <a:cubicBezTo>
                    <a:pt x="1288" y="646"/>
                    <a:pt x="1261" y="495"/>
                    <a:pt x="1213" y="366"/>
                  </a:cubicBezTo>
                  <a:close/>
                  <a:moveTo>
                    <a:pt x="946" y="177"/>
                  </a:moveTo>
                  <a:cubicBezTo>
                    <a:pt x="946" y="368"/>
                    <a:pt x="946" y="368"/>
                    <a:pt x="946" y="368"/>
                  </a:cubicBezTo>
                  <a:cubicBezTo>
                    <a:pt x="1034" y="361"/>
                    <a:pt x="1118" y="346"/>
                    <a:pt x="1197" y="325"/>
                  </a:cubicBezTo>
                  <a:cubicBezTo>
                    <a:pt x="1183" y="292"/>
                    <a:pt x="1168" y="260"/>
                    <a:pt x="1151" y="231"/>
                  </a:cubicBezTo>
                  <a:cubicBezTo>
                    <a:pt x="1083" y="112"/>
                    <a:pt x="1000" y="34"/>
                    <a:pt x="909" y="4"/>
                  </a:cubicBezTo>
                  <a:cubicBezTo>
                    <a:pt x="889" y="2"/>
                    <a:pt x="869" y="1"/>
                    <a:pt x="848" y="0"/>
                  </a:cubicBezTo>
                  <a:cubicBezTo>
                    <a:pt x="848" y="177"/>
                    <a:pt x="848" y="177"/>
                    <a:pt x="848" y="177"/>
                  </a:cubicBezTo>
                  <a:lnTo>
                    <a:pt x="946" y="177"/>
                  </a:lnTo>
                  <a:close/>
                  <a:moveTo>
                    <a:pt x="439" y="366"/>
                  </a:moveTo>
                  <a:cubicBezTo>
                    <a:pt x="391" y="495"/>
                    <a:pt x="364" y="646"/>
                    <a:pt x="361" y="804"/>
                  </a:cubicBezTo>
                  <a:cubicBezTo>
                    <a:pt x="729" y="804"/>
                    <a:pt x="729" y="804"/>
                    <a:pt x="729" y="804"/>
                  </a:cubicBezTo>
                  <a:cubicBezTo>
                    <a:pt x="711" y="663"/>
                    <a:pt x="702" y="558"/>
                    <a:pt x="702" y="489"/>
                  </a:cubicBezTo>
                  <a:cubicBezTo>
                    <a:pt x="702" y="412"/>
                    <a:pt x="702" y="412"/>
                    <a:pt x="702" y="412"/>
                  </a:cubicBezTo>
                  <a:cubicBezTo>
                    <a:pt x="610" y="405"/>
                    <a:pt x="521" y="389"/>
                    <a:pt x="439" y="366"/>
                  </a:cubicBezTo>
                  <a:close/>
                  <a:moveTo>
                    <a:pt x="1335" y="804"/>
                  </a:moveTo>
                  <a:cubicBezTo>
                    <a:pt x="1652" y="804"/>
                    <a:pt x="1652" y="804"/>
                    <a:pt x="1652" y="804"/>
                  </a:cubicBezTo>
                  <a:cubicBezTo>
                    <a:pt x="1646" y="600"/>
                    <a:pt x="1567" y="415"/>
                    <a:pt x="1440" y="274"/>
                  </a:cubicBezTo>
                  <a:cubicBezTo>
                    <a:pt x="1384" y="305"/>
                    <a:pt x="1322" y="331"/>
                    <a:pt x="1255" y="353"/>
                  </a:cubicBezTo>
                  <a:cubicBezTo>
                    <a:pt x="1305" y="487"/>
                    <a:pt x="1332" y="642"/>
                    <a:pt x="1335" y="804"/>
                  </a:cubicBezTo>
                  <a:close/>
                  <a:moveTo>
                    <a:pt x="1291" y="848"/>
                  </a:moveTo>
                  <a:cubicBezTo>
                    <a:pt x="913" y="848"/>
                    <a:pt x="913" y="848"/>
                    <a:pt x="913" y="848"/>
                  </a:cubicBezTo>
                  <a:cubicBezTo>
                    <a:pt x="905" y="907"/>
                    <a:pt x="896" y="971"/>
                    <a:pt x="885" y="1041"/>
                  </a:cubicBezTo>
                  <a:cubicBezTo>
                    <a:pt x="880" y="1070"/>
                    <a:pt x="880" y="1070"/>
                    <a:pt x="880" y="1070"/>
                  </a:cubicBezTo>
                  <a:cubicBezTo>
                    <a:pt x="848" y="1070"/>
                    <a:pt x="848" y="1070"/>
                    <a:pt x="848" y="1070"/>
                  </a:cubicBezTo>
                  <a:cubicBezTo>
                    <a:pt x="848" y="1175"/>
                    <a:pt x="848" y="1175"/>
                    <a:pt x="848" y="1175"/>
                  </a:cubicBezTo>
                  <a:cubicBezTo>
                    <a:pt x="880" y="1180"/>
                    <a:pt x="908" y="1194"/>
                    <a:pt x="932" y="1218"/>
                  </a:cubicBezTo>
                  <a:cubicBezTo>
                    <a:pt x="939" y="1225"/>
                    <a:pt x="945" y="1232"/>
                    <a:pt x="951" y="1240"/>
                  </a:cubicBezTo>
                  <a:cubicBezTo>
                    <a:pt x="1043" y="1247"/>
                    <a:pt x="1131" y="1263"/>
                    <a:pt x="1213" y="1286"/>
                  </a:cubicBezTo>
                  <a:cubicBezTo>
                    <a:pt x="1261" y="1157"/>
                    <a:pt x="1288" y="1006"/>
                    <a:pt x="1291" y="848"/>
                  </a:cubicBezTo>
                  <a:close/>
                  <a:moveTo>
                    <a:pt x="439" y="1286"/>
                  </a:moveTo>
                  <a:cubicBezTo>
                    <a:pt x="521" y="1263"/>
                    <a:pt x="609" y="1247"/>
                    <a:pt x="701" y="1240"/>
                  </a:cubicBezTo>
                  <a:cubicBezTo>
                    <a:pt x="707" y="1232"/>
                    <a:pt x="713" y="1225"/>
                    <a:pt x="720" y="1218"/>
                  </a:cubicBezTo>
                  <a:cubicBezTo>
                    <a:pt x="744" y="1194"/>
                    <a:pt x="772" y="1180"/>
                    <a:pt x="804" y="1175"/>
                  </a:cubicBezTo>
                  <a:cubicBezTo>
                    <a:pt x="804" y="1070"/>
                    <a:pt x="804" y="1070"/>
                    <a:pt x="804" y="1070"/>
                  </a:cubicBezTo>
                  <a:cubicBezTo>
                    <a:pt x="767" y="1070"/>
                    <a:pt x="767" y="1070"/>
                    <a:pt x="767" y="1070"/>
                  </a:cubicBezTo>
                  <a:cubicBezTo>
                    <a:pt x="763" y="1041"/>
                    <a:pt x="763" y="1041"/>
                    <a:pt x="763" y="1041"/>
                  </a:cubicBezTo>
                  <a:cubicBezTo>
                    <a:pt x="752" y="971"/>
                    <a:pt x="743" y="907"/>
                    <a:pt x="735" y="848"/>
                  </a:cubicBezTo>
                  <a:cubicBezTo>
                    <a:pt x="361" y="848"/>
                    <a:pt x="361" y="848"/>
                    <a:pt x="361" y="848"/>
                  </a:cubicBezTo>
                  <a:cubicBezTo>
                    <a:pt x="364" y="1006"/>
                    <a:pt x="391" y="1157"/>
                    <a:pt x="439" y="1286"/>
                  </a:cubicBezTo>
                  <a:close/>
                  <a:moveTo>
                    <a:pt x="1151" y="1421"/>
                  </a:moveTo>
                  <a:cubicBezTo>
                    <a:pt x="1168" y="1392"/>
                    <a:pt x="1183" y="1360"/>
                    <a:pt x="1197" y="1327"/>
                  </a:cubicBezTo>
                  <a:cubicBezTo>
                    <a:pt x="1126" y="1308"/>
                    <a:pt x="1050" y="1294"/>
                    <a:pt x="972" y="1286"/>
                  </a:cubicBezTo>
                  <a:cubicBezTo>
                    <a:pt x="975" y="1298"/>
                    <a:pt x="976" y="1311"/>
                    <a:pt x="976" y="1324"/>
                  </a:cubicBezTo>
                  <a:cubicBezTo>
                    <a:pt x="976" y="1365"/>
                    <a:pt x="962" y="1401"/>
                    <a:pt x="932" y="1431"/>
                  </a:cubicBezTo>
                  <a:cubicBezTo>
                    <a:pt x="908" y="1455"/>
                    <a:pt x="880" y="1469"/>
                    <a:pt x="848" y="1474"/>
                  </a:cubicBezTo>
                  <a:cubicBezTo>
                    <a:pt x="848" y="1652"/>
                    <a:pt x="848" y="1652"/>
                    <a:pt x="848" y="1652"/>
                  </a:cubicBezTo>
                  <a:cubicBezTo>
                    <a:pt x="869" y="1651"/>
                    <a:pt x="889" y="1650"/>
                    <a:pt x="909" y="1648"/>
                  </a:cubicBezTo>
                  <a:cubicBezTo>
                    <a:pt x="1000" y="1618"/>
                    <a:pt x="1083" y="1540"/>
                    <a:pt x="1151" y="1421"/>
                  </a:cubicBezTo>
                  <a:close/>
                  <a:moveTo>
                    <a:pt x="1335" y="848"/>
                  </a:moveTo>
                  <a:cubicBezTo>
                    <a:pt x="1332" y="1010"/>
                    <a:pt x="1305" y="1165"/>
                    <a:pt x="1255" y="1299"/>
                  </a:cubicBezTo>
                  <a:cubicBezTo>
                    <a:pt x="1322" y="1321"/>
                    <a:pt x="1384" y="1347"/>
                    <a:pt x="1440" y="1378"/>
                  </a:cubicBezTo>
                  <a:cubicBezTo>
                    <a:pt x="1567" y="1237"/>
                    <a:pt x="1646" y="1052"/>
                    <a:pt x="1652" y="848"/>
                  </a:cubicBezTo>
                  <a:lnTo>
                    <a:pt x="1335" y="848"/>
                  </a:lnTo>
                  <a:close/>
                  <a:moveTo>
                    <a:pt x="720" y="1431"/>
                  </a:moveTo>
                  <a:cubicBezTo>
                    <a:pt x="690" y="1401"/>
                    <a:pt x="676" y="1365"/>
                    <a:pt x="676" y="1324"/>
                  </a:cubicBezTo>
                  <a:cubicBezTo>
                    <a:pt x="676" y="1311"/>
                    <a:pt x="677" y="1298"/>
                    <a:pt x="680" y="1286"/>
                  </a:cubicBezTo>
                  <a:cubicBezTo>
                    <a:pt x="602" y="1294"/>
                    <a:pt x="526" y="1308"/>
                    <a:pt x="455" y="1327"/>
                  </a:cubicBezTo>
                  <a:cubicBezTo>
                    <a:pt x="469" y="1360"/>
                    <a:pt x="484" y="1392"/>
                    <a:pt x="501" y="1421"/>
                  </a:cubicBezTo>
                  <a:cubicBezTo>
                    <a:pt x="569" y="1540"/>
                    <a:pt x="652" y="1618"/>
                    <a:pt x="743" y="1648"/>
                  </a:cubicBezTo>
                  <a:cubicBezTo>
                    <a:pt x="763" y="1650"/>
                    <a:pt x="783" y="1651"/>
                    <a:pt x="804" y="1652"/>
                  </a:cubicBezTo>
                  <a:cubicBezTo>
                    <a:pt x="804" y="1474"/>
                    <a:pt x="804" y="1474"/>
                    <a:pt x="804" y="1474"/>
                  </a:cubicBezTo>
                  <a:cubicBezTo>
                    <a:pt x="772" y="1469"/>
                    <a:pt x="744" y="1455"/>
                    <a:pt x="720" y="1431"/>
                  </a:cubicBezTo>
                  <a:close/>
                  <a:moveTo>
                    <a:pt x="463" y="1443"/>
                  </a:moveTo>
                  <a:cubicBezTo>
                    <a:pt x="444" y="1411"/>
                    <a:pt x="428" y="1376"/>
                    <a:pt x="413" y="1340"/>
                  </a:cubicBezTo>
                  <a:cubicBezTo>
                    <a:pt x="352" y="1360"/>
                    <a:pt x="295" y="1383"/>
                    <a:pt x="244" y="1411"/>
                  </a:cubicBezTo>
                  <a:cubicBezTo>
                    <a:pt x="344" y="1511"/>
                    <a:pt x="470" y="1585"/>
                    <a:pt x="610" y="1623"/>
                  </a:cubicBezTo>
                  <a:cubicBezTo>
                    <a:pt x="556" y="1579"/>
                    <a:pt x="506" y="1519"/>
                    <a:pt x="463" y="1443"/>
                  </a:cubicBezTo>
                  <a:close/>
                  <a:moveTo>
                    <a:pt x="1239" y="1340"/>
                  </a:moveTo>
                  <a:cubicBezTo>
                    <a:pt x="1224" y="1376"/>
                    <a:pt x="1208" y="1411"/>
                    <a:pt x="1189" y="1443"/>
                  </a:cubicBezTo>
                  <a:cubicBezTo>
                    <a:pt x="1146" y="1519"/>
                    <a:pt x="1096" y="1579"/>
                    <a:pt x="1042" y="1623"/>
                  </a:cubicBezTo>
                  <a:cubicBezTo>
                    <a:pt x="1182" y="1585"/>
                    <a:pt x="1308" y="1511"/>
                    <a:pt x="1408" y="1411"/>
                  </a:cubicBezTo>
                  <a:cubicBezTo>
                    <a:pt x="1357" y="1383"/>
                    <a:pt x="1300" y="1360"/>
                    <a:pt x="1239" y="1340"/>
                  </a:cubicBezTo>
                  <a:close/>
                  <a:moveTo>
                    <a:pt x="317" y="848"/>
                  </a:moveTo>
                  <a:cubicBezTo>
                    <a:pt x="0" y="848"/>
                    <a:pt x="0" y="848"/>
                    <a:pt x="0" y="848"/>
                  </a:cubicBezTo>
                  <a:cubicBezTo>
                    <a:pt x="6" y="1052"/>
                    <a:pt x="85" y="1237"/>
                    <a:pt x="212" y="1378"/>
                  </a:cubicBezTo>
                  <a:cubicBezTo>
                    <a:pt x="268" y="1347"/>
                    <a:pt x="330" y="1321"/>
                    <a:pt x="397" y="1299"/>
                  </a:cubicBezTo>
                  <a:cubicBezTo>
                    <a:pt x="347" y="1165"/>
                    <a:pt x="320" y="1010"/>
                    <a:pt x="317" y="848"/>
                  </a:cubicBezTo>
                  <a:close/>
                  <a:moveTo>
                    <a:pt x="804" y="0"/>
                  </a:moveTo>
                  <a:cubicBezTo>
                    <a:pt x="783" y="1"/>
                    <a:pt x="763" y="2"/>
                    <a:pt x="743" y="4"/>
                  </a:cubicBezTo>
                  <a:cubicBezTo>
                    <a:pt x="652" y="34"/>
                    <a:pt x="569" y="112"/>
                    <a:pt x="501" y="231"/>
                  </a:cubicBezTo>
                  <a:cubicBezTo>
                    <a:pt x="484" y="260"/>
                    <a:pt x="469" y="292"/>
                    <a:pt x="455" y="325"/>
                  </a:cubicBezTo>
                  <a:cubicBezTo>
                    <a:pt x="532" y="346"/>
                    <a:pt x="616" y="361"/>
                    <a:pt x="702" y="368"/>
                  </a:cubicBezTo>
                  <a:cubicBezTo>
                    <a:pt x="702" y="177"/>
                    <a:pt x="702" y="177"/>
                    <a:pt x="702" y="177"/>
                  </a:cubicBezTo>
                  <a:cubicBezTo>
                    <a:pt x="804" y="177"/>
                    <a:pt x="804" y="177"/>
                    <a:pt x="804" y="177"/>
                  </a:cubicBezTo>
                  <a:lnTo>
                    <a:pt x="804" y="0"/>
                  </a:lnTo>
                  <a:close/>
                  <a:moveTo>
                    <a:pt x="413" y="312"/>
                  </a:moveTo>
                  <a:cubicBezTo>
                    <a:pt x="428" y="276"/>
                    <a:pt x="444" y="241"/>
                    <a:pt x="463" y="209"/>
                  </a:cubicBezTo>
                  <a:cubicBezTo>
                    <a:pt x="506" y="133"/>
                    <a:pt x="556" y="73"/>
                    <a:pt x="610" y="29"/>
                  </a:cubicBezTo>
                  <a:cubicBezTo>
                    <a:pt x="470" y="67"/>
                    <a:pt x="344" y="141"/>
                    <a:pt x="244" y="241"/>
                  </a:cubicBezTo>
                  <a:cubicBezTo>
                    <a:pt x="295" y="269"/>
                    <a:pt x="352" y="292"/>
                    <a:pt x="413" y="312"/>
                  </a:cubicBezTo>
                  <a:close/>
                  <a:moveTo>
                    <a:pt x="317" y="804"/>
                  </a:moveTo>
                  <a:cubicBezTo>
                    <a:pt x="320" y="642"/>
                    <a:pt x="347" y="487"/>
                    <a:pt x="397" y="353"/>
                  </a:cubicBezTo>
                  <a:cubicBezTo>
                    <a:pt x="330" y="331"/>
                    <a:pt x="268" y="305"/>
                    <a:pt x="212" y="274"/>
                  </a:cubicBezTo>
                  <a:cubicBezTo>
                    <a:pt x="85" y="415"/>
                    <a:pt x="6" y="600"/>
                    <a:pt x="0" y="804"/>
                  </a:cubicBezTo>
                  <a:lnTo>
                    <a:pt x="317" y="80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cxnSp>
        <p:nvCxnSpPr>
          <p:cNvPr id="10" name="Straight Arrow Connector 9"/>
          <p:cNvCxnSpPr/>
          <p:nvPr/>
        </p:nvCxnSpPr>
        <p:spPr>
          <a:xfrm>
            <a:off x="711358" y="6354594"/>
            <a:ext cx="10766399" cy="15845"/>
          </a:xfrm>
          <a:prstGeom prst="straightConnector1">
            <a:avLst/>
          </a:prstGeom>
          <a:ln w="38100" cap="rnd">
            <a:solidFill>
              <a:schemeClr val="tx1">
                <a:lumMod val="60000"/>
                <a:lumOff val="40000"/>
              </a:schemeClr>
            </a:solidFill>
            <a:prstDash val="solid"/>
            <a:round/>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937527" y="5585719"/>
            <a:ext cx="2087477"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600" dirty="0">
                <a:solidFill>
                  <a:srgbClr val="29BA74"/>
                </a:solidFill>
              </a:rPr>
              <a:t>2nda quincena Abril</a:t>
            </a:r>
          </a:p>
        </p:txBody>
      </p:sp>
      <p:sp>
        <p:nvSpPr>
          <p:cNvPr id="83" name="TextBox 82"/>
          <p:cNvSpPr txBox="1"/>
          <p:nvPr/>
        </p:nvSpPr>
        <p:spPr>
          <a:xfrm>
            <a:off x="8776805" y="5585719"/>
            <a:ext cx="2087477"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2 </a:t>
            </a:r>
            <a:r>
              <a:rPr lang="en-US" sz="1600" dirty="0" err="1">
                <a:solidFill>
                  <a:srgbClr val="29BA74"/>
                </a:solidFill>
              </a:rPr>
              <a:t>semestre</a:t>
            </a:r>
            <a:r>
              <a:rPr lang="en-US" sz="1600" dirty="0">
                <a:solidFill>
                  <a:srgbClr val="29BA74"/>
                </a:solidFill>
              </a:rPr>
              <a:t> 2020 ??</a:t>
            </a:r>
          </a:p>
        </p:txBody>
      </p:sp>
      <p:sp>
        <p:nvSpPr>
          <p:cNvPr id="92" name="TextBox 91"/>
          <p:cNvSpPr txBox="1"/>
          <p:nvPr/>
        </p:nvSpPr>
        <p:spPr>
          <a:xfrm>
            <a:off x="1116808" y="5585719"/>
            <a:ext cx="1758998"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600" dirty="0">
                <a:solidFill>
                  <a:srgbClr val="29BA74"/>
                </a:solidFill>
              </a:rPr>
              <a:t>Fines Febrero /</a:t>
            </a:r>
            <a:br>
              <a:rPr lang="es-CL" sz="1600" dirty="0">
                <a:solidFill>
                  <a:srgbClr val="29BA74"/>
                </a:solidFill>
              </a:rPr>
            </a:br>
            <a:r>
              <a:rPr lang="es-CL" sz="1600" dirty="0">
                <a:solidFill>
                  <a:srgbClr val="29BA74"/>
                </a:solidFill>
              </a:rPr>
              <a:t>inicio Marzo</a:t>
            </a:r>
          </a:p>
        </p:txBody>
      </p:sp>
      <p:sp>
        <p:nvSpPr>
          <p:cNvPr id="97" name="TextBox 96"/>
          <p:cNvSpPr txBox="1"/>
          <p:nvPr/>
        </p:nvSpPr>
        <p:spPr>
          <a:xfrm>
            <a:off x="920268" y="4686492"/>
            <a:ext cx="2152079"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600" dirty="0">
                <a:solidFill>
                  <a:srgbClr val="29BA74"/>
                </a:solidFill>
              </a:rPr>
              <a:t>Mediados Marzo</a:t>
            </a:r>
          </a:p>
        </p:txBody>
      </p:sp>
      <p:sp>
        <p:nvSpPr>
          <p:cNvPr id="116" name="TextBox 115"/>
          <p:cNvSpPr txBox="1"/>
          <p:nvPr/>
        </p:nvSpPr>
        <p:spPr>
          <a:xfrm>
            <a:off x="5208828" y="6450889"/>
            <a:ext cx="1771458" cy="1816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400" dirty="0">
                <a:solidFill>
                  <a:srgbClr val="575757"/>
                </a:solidFill>
              </a:rPr>
              <a:t>Ciclo COVID-19</a:t>
            </a:r>
          </a:p>
        </p:txBody>
      </p:sp>
      <p:sp>
        <p:nvSpPr>
          <p:cNvPr id="119" name="TextBox 118"/>
          <p:cNvSpPr txBox="1"/>
          <p:nvPr/>
        </p:nvSpPr>
        <p:spPr>
          <a:xfrm>
            <a:off x="4937527" y="4686492"/>
            <a:ext cx="2087477"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600" dirty="0">
                <a:solidFill>
                  <a:srgbClr val="29BA74"/>
                </a:solidFill>
              </a:rPr>
              <a:t>1era quincena Mayo</a:t>
            </a:r>
          </a:p>
        </p:txBody>
      </p:sp>
      <p:sp>
        <p:nvSpPr>
          <p:cNvPr id="120" name="TextBox 119"/>
          <p:cNvSpPr txBox="1"/>
          <p:nvPr/>
        </p:nvSpPr>
        <p:spPr>
          <a:xfrm>
            <a:off x="8776805" y="4686492"/>
            <a:ext cx="2087477" cy="4898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600" dirty="0">
                <a:solidFill>
                  <a:srgbClr val="29BA74"/>
                </a:solidFill>
              </a:rPr>
              <a:t>2 semestre 2020 ??</a:t>
            </a:r>
          </a:p>
        </p:txBody>
      </p:sp>
      <p:pic>
        <p:nvPicPr>
          <p:cNvPr id="122" name="flag_chile"/>
          <p:cNvPicPr>
            <a:picLocks noChangeAspect="1" noChangeArrowheads="1"/>
          </p:cNvPicPr>
          <p:nvPr/>
        </p:nvPicPr>
        <p:blipFill>
          <a:blip r:embed="rId9"/>
          <a:srcRect/>
          <a:stretch>
            <a:fillRect/>
          </a:stretch>
        </p:blipFill>
        <p:spPr bwMode="auto">
          <a:xfrm>
            <a:off x="213147" y="4733147"/>
            <a:ext cx="664459" cy="442696"/>
          </a:xfrm>
          <a:prstGeom prst="rect">
            <a:avLst/>
          </a:prstGeom>
          <a:noFill/>
          <a:ln w="3175">
            <a:noFill/>
          </a:ln>
        </p:spPr>
      </p:pic>
      <p:pic>
        <p:nvPicPr>
          <p:cNvPr id="124" name="flag_spain"/>
          <p:cNvPicPr>
            <a:picLocks noChangeAspect="1" noChangeArrowheads="1"/>
          </p:cNvPicPr>
          <p:nvPr/>
        </p:nvPicPr>
        <p:blipFill>
          <a:blip r:embed="rId10"/>
          <a:srcRect/>
          <a:stretch>
            <a:fillRect/>
          </a:stretch>
        </p:blipFill>
        <p:spPr bwMode="auto">
          <a:xfrm>
            <a:off x="213147" y="5636873"/>
            <a:ext cx="664044" cy="442696"/>
          </a:xfrm>
          <a:prstGeom prst="rect">
            <a:avLst/>
          </a:prstGeom>
          <a:noFill/>
          <a:ln>
            <a:noFill/>
          </a:ln>
        </p:spPr>
      </p:pic>
    </p:spTree>
    <p:extLst>
      <p:ext uri="{BB962C8B-B14F-4D97-AF65-F5344CB8AC3E}">
        <p14:creationId xmlns:p14="http://schemas.microsoft.com/office/powerpoint/2010/main" val="3141163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16="http://schemas.microsoft.com/office/drawing/2014/main" xmlns:a14="http://schemas.microsoft.com/office/drawing/2010/main" xmlns:v="urn:schemas-microsoft-com:vml"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3"/>
            </p:custDataLst>
            <p:extLst>
              <p:ext uri="{D42A27DB-BD31-4B8C-83A1-F6EECF244321}">
                <p14:modId xmlns:p14="http://schemas.microsoft.com/office/powerpoint/2010/main" val="170165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9" name="think-cell Slide" r:id="rId43" imgW="473" imgH="473" progId="TCLayout.ActiveDocument.1">
                  <p:embed/>
                </p:oleObj>
              </mc:Choice>
              <mc:Fallback>
                <p:oleObj name="think-cell Slide" r:id="rId43" imgW="473" imgH="473" progId="TCLayout.ActiveDocument.1">
                  <p:embed/>
                  <p:pic>
                    <p:nvPicPr>
                      <p:cNvPr id="0" name=""/>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dirty="0">
              <a:solidFill>
                <a:srgbClr val="FFFFFF"/>
              </a:solidFill>
              <a:sym typeface="+mn-lt"/>
            </a:endParaRPr>
          </a:p>
        </p:txBody>
      </p:sp>
      <p:sp>
        <p:nvSpPr>
          <p:cNvPr id="2" name="Title 1"/>
          <p:cNvSpPr>
            <a:spLocks noGrp="1"/>
          </p:cNvSpPr>
          <p:nvPr>
            <p:ph type="title"/>
          </p:nvPr>
        </p:nvSpPr>
        <p:spPr>
          <a:xfrm>
            <a:off x="629999" y="622800"/>
            <a:ext cx="11033683" cy="997196"/>
          </a:xfrm>
        </p:spPr>
        <p:txBody>
          <a:bodyPr/>
          <a:lstStyle/>
          <a:p>
            <a:r>
              <a:rPr lang="es-ES" sz="3600" dirty="0">
                <a:solidFill>
                  <a:srgbClr val="29BA74"/>
                </a:solidFill>
              </a:rPr>
              <a:t>El COVID-19 se está convirtiendo en una importante amenaza para empleados y negocios</a:t>
            </a:r>
          </a:p>
        </p:txBody>
      </p:sp>
      <p:sp>
        <p:nvSpPr>
          <p:cNvPr id="4" name="ee4pHeader1"/>
          <p:cNvSpPr txBox="1"/>
          <p:nvPr/>
        </p:nvSpPr>
        <p:spPr>
          <a:xfrm>
            <a:off x="630000" y="1724908"/>
            <a:ext cx="5339000" cy="658368"/>
          </a:xfrm>
          <a:prstGeom prst="rect">
            <a:avLst/>
          </a:prstGeom>
          <a:noFill/>
          <a:ln cap="rnd">
            <a:noFill/>
          </a:ln>
        </p:spPr>
        <p:txBody>
          <a:bodyPr wrap="square" lIns="0" tIns="0" rIns="0" bIns="0" rtlCol="0" anchor="b" anchorCtr="0">
            <a:noAutofit/>
          </a:bodyPr>
          <a:lstStyle/>
          <a:p>
            <a:pPr marL="0" lvl="3"/>
            <a:r>
              <a:rPr lang="es-ES" sz="2000" dirty="0">
                <a:solidFill>
                  <a:srgbClr val="29BA74"/>
                </a:solidFill>
              </a:rPr>
              <a:t>Reacciones al COVID-19...</a:t>
            </a:r>
          </a:p>
        </p:txBody>
      </p:sp>
      <p:sp>
        <p:nvSpPr>
          <p:cNvPr id="5" name="ee4pHeader2"/>
          <p:cNvSpPr txBox="1"/>
          <p:nvPr/>
        </p:nvSpPr>
        <p:spPr>
          <a:xfrm>
            <a:off x="5058674" y="1724908"/>
            <a:ext cx="5646738" cy="658368"/>
          </a:xfrm>
          <a:prstGeom prst="rect">
            <a:avLst/>
          </a:prstGeom>
          <a:noFill/>
          <a:ln cap="rnd">
            <a:noFill/>
          </a:ln>
        </p:spPr>
        <p:txBody>
          <a:bodyPr wrap="square" lIns="0" tIns="0" rIns="0" bIns="0" rtlCol="0" anchor="b" anchorCtr="0">
            <a:noAutofit/>
          </a:bodyPr>
          <a:lstStyle/>
          <a:p>
            <a:pPr marL="0" lvl="3"/>
            <a:r>
              <a:rPr lang="es-ES" sz="2000" dirty="0">
                <a:solidFill>
                  <a:srgbClr val="29BA74"/>
                </a:solidFill>
              </a:rPr>
              <a:t>…por el aumento de casos en todo el mundo</a:t>
            </a:r>
          </a:p>
        </p:txBody>
      </p:sp>
      <p:sp>
        <p:nvSpPr>
          <p:cNvPr id="6" name="ee4pFootnotes"/>
          <p:cNvSpPr>
            <a:spLocks noChangeArrowheads="1"/>
          </p:cNvSpPr>
          <p:nvPr/>
        </p:nvSpPr>
        <p:spPr bwMode="auto">
          <a:xfrm>
            <a:off x="577511" y="6472138"/>
            <a:ext cx="3759853"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s-ES" sz="1000" dirty="0">
                <a:solidFill>
                  <a:srgbClr val="7F7F7F"/>
                </a:solidFill>
                <a:latin typeface="Trebuchet MS" panose="020B0603020202020204" pitchFamily="34" charset="0"/>
                <a:cs typeface="Arial" pitchFamily="34" charset="0"/>
              </a:rPr>
              <a:t>Fuente: The Verge, Reuters, Bloomberg, Business Insider, finews.asia, San Francisco Chronicle, The Star, BCG.</a:t>
            </a:r>
          </a:p>
        </p:txBody>
      </p:sp>
      <p:sp>
        <p:nvSpPr>
          <p:cNvPr id="53" name="Rectangle 52"/>
          <p:cNvSpPr/>
          <p:nvPr/>
        </p:nvSpPr>
        <p:spPr>
          <a:xfrm>
            <a:off x="590550" y="3921855"/>
            <a:ext cx="3746814" cy="665322"/>
          </a:xfrm>
          <a:prstGeom prst="rect">
            <a:avLst/>
          </a:prstGeom>
          <a:solidFill>
            <a:srgbClr val="FFFFFF"/>
          </a:solidFill>
          <a:ln w="9525" cap="rnd" cmpd="sng" algn="ctr">
            <a:solidFill>
              <a:srgbClr val="9A9A9A"/>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ES" sz="1200" dirty="0">
                <a:solidFill>
                  <a:srgbClr val="575757"/>
                </a:solidFill>
              </a:rPr>
              <a:t>Microsoft permite a los empleados trabajar desde casa en medio del brote de coronavirus</a:t>
            </a:r>
          </a:p>
          <a:p>
            <a:r>
              <a:rPr lang="es-ES" sz="800" i="1" dirty="0">
                <a:solidFill>
                  <a:srgbClr val="575757"/>
                </a:solidFill>
              </a:rPr>
              <a:t>Los empleados de San Francisco y Seattle pueden trabajar desde casa</a:t>
            </a:r>
          </a:p>
        </p:txBody>
      </p:sp>
      <p:sp>
        <p:nvSpPr>
          <p:cNvPr id="54" name="Rectangle 53"/>
          <p:cNvSpPr/>
          <p:nvPr/>
        </p:nvSpPr>
        <p:spPr>
          <a:xfrm>
            <a:off x="446717" y="4713363"/>
            <a:ext cx="4034480" cy="593124"/>
          </a:xfrm>
          <a:prstGeom prst="rect">
            <a:avLst/>
          </a:prstGeom>
          <a:solidFill>
            <a:srgbClr val="FFFFFF"/>
          </a:solidFill>
          <a:ln w="9525" cap="rnd" cmpd="sng" algn="ctr">
            <a:solidFill>
              <a:srgbClr val="9A9A9A"/>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ES" sz="1600" dirty="0">
                <a:solidFill>
                  <a:srgbClr val="575757"/>
                </a:solidFill>
              </a:rPr>
              <a:t>Apple permite trabajar desde casa esta semana a muchos empleados globales</a:t>
            </a:r>
            <a:endParaRPr lang="es-ES" sz="900" i="1" dirty="0">
              <a:solidFill>
                <a:srgbClr val="575757"/>
              </a:solidFill>
            </a:endParaRPr>
          </a:p>
        </p:txBody>
      </p:sp>
      <p:sp>
        <p:nvSpPr>
          <p:cNvPr id="4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s-ES" sz="700" dirty="0">
                <a:solidFill>
                  <a:srgbClr val="FFFFFF"/>
                </a:solidFill>
                <a:latin typeface="+mn-lt"/>
                <a:sym typeface="Trebuchet MS" panose="020B0603020202020204" pitchFamily="34" charset="0"/>
              </a:rPr>
              <a:t>Copyright © 2020 por Boston Consulting Group. Todos los derechos reservados.</a:t>
            </a:r>
          </a:p>
        </p:txBody>
      </p:sp>
      <p:sp>
        <p:nvSpPr>
          <p:cNvPr id="45" name="Rectangle 44"/>
          <p:cNvSpPr/>
          <p:nvPr/>
        </p:nvSpPr>
        <p:spPr>
          <a:xfrm>
            <a:off x="590550" y="3396899"/>
            <a:ext cx="3746814" cy="398770"/>
          </a:xfrm>
          <a:prstGeom prst="rect">
            <a:avLst/>
          </a:prstGeom>
          <a:solidFill>
            <a:srgbClr val="FFFFFF"/>
          </a:solidFill>
          <a:ln w="9525" cap="rnd" cmpd="sng" algn="ctr">
            <a:solidFill>
              <a:srgbClr val="9A9A9A"/>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ES" sz="1200" b="1" dirty="0">
                <a:solidFill>
                  <a:srgbClr val="575757"/>
                </a:solidFill>
              </a:rPr>
              <a:t>Amazon solicita a sus 698.000 trabajadores</a:t>
            </a:r>
            <a:br>
              <a:rPr lang="es-ES" sz="1200" b="1" dirty="0">
                <a:solidFill>
                  <a:srgbClr val="575757"/>
                </a:solidFill>
              </a:rPr>
            </a:br>
            <a:r>
              <a:rPr lang="es-ES" sz="1200" b="1" dirty="0">
                <a:solidFill>
                  <a:srgbClr val="575757"/>
                </a:solidFill>
              </a:rPr>
              <a:t>que reduzcan sus viajes a la mitad</a:t>
            </a:r>
            <a:endParaRPr lang="es-ES" sz="800" b="1" i="1" dirty="0">
              <a:solidFill>
                <a:srgbClr val="575757"/>
              </a:solidFill>
            </a:endParaRPr>
          </a:p>
        </p:txBody>
      </p:sp>
      <p:sp>
        <p:nvSpPr>
          <p:cNvPr id="46" name="Rectangle 45"/>
          <p:cNvSpPr/>
          <p:nvPr/>
        </p:nvSpPr>
        <p:spPr>
          <a:xfrm>
            <a:off x="590550" y="2667150"/>
            <a:ext cx="3746814" cy="603563"/>
          </a:xfrm>
          <a:prstGeom prst="rect">
            <a:avLst/>
          </a:prstGeom>
          <a:solidFill>
            <a:srgbClr val="FFFFFF"/>
          </a:solidFill>
          <a:ln w="9525" cap="rnd" cmpd="sng" algn="ctr">
            <a:solidFill>
              <a:srgbClr val="9A9A9A"/>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ES" sz="1300" dirty="0">
                <a:solidFill>
                  <a:srgbClr val="575757"/>
                </a:solidFill>
              </a:rPr>
              <a:t>Coronavirus: </a:t>
            </a:r>
            <a:r>
              <a:rPr lang="es-ES" sz="1300" dirty="0" err="1">
                <a:solidFill>
                  <a:srgbClr val="575757"/>
                </a:solidFill>
              </a:rPr>
              <a:t>Salesforce</a:t>
            </a:r>
            <a:r>
              <a:rPr lang="es-ES" sz="1300" dirty="0">
                <a:solidFill>
                  <a:srgbClr val="575757"/>
                </a:solidFill>
              </a:rPr>
              <a:t> y Twitter prohíben</a:t>
            </a:r>
            <a:br>
              <a:rPr lang="es-ES" sz="1300" dirty="0">
                <a:solidFill>
                  <a:srgbClr val="575757"/>
                </a:solidFill>
              </a:rPr>
            </a:br>
            <a:r>
              <a:rPr lang="es-ES" sz="1300" dirty="0">
                <a:solidFill>
                  <a:srgbClr val="575757"/>
                </a:solidFill>
              </a:rPr>
              <a:t>a sus empleados </a:t>
            </a:r>
            <a:r>
              <a:rPr lang="es-ES" sz="1300" dirty="0" smtClean="0">
                <a:solidFill>
                  <a:srgbClr val="575757"/>
                </a:solidFill>
              </a:rPr>
              <a:t>tomar aviones </a:t>
            </a:r>
            <a:r>
              <a:rPr lang="es-ES" sz="1300" dirty="0">
                <a:solidFill>
                  <a:srgbClr val="575757"/>
                </a:solidFill>
              </a:rPr>
              <a:t>en EE.UU.</a:t>
            </a:r>
            <a:endParaRPr lang="es-ES" sz="1300" i="1" dirty="0">
              <a:solidFill>
                <a:srgbClr val="575757"/>
              </a:solidFill>
            </a:endParaRPr>
          </a:p>
        </p:txBody>
      </p:sp>
      <p:sp>
        <p:nvSpPr>
          <p:cNvPr id="48" name="Rectangle 47"/>
          <p:cNvSpPr/>
          <p:nvPr/>
        </p:nvSpPr>
        <p:spPr>
          <a:xfrm>
            <a:off x="590550" y="5432672"/>
            <a:ext cx="3746814" cy="584914"/>
          </a:xfrm>
          <a:prstGeom prst="rect">
            <a:avLst/>
          </a:prstGeom>
          <a:solidFill>
            <a:srgbClr val="FFFFFF"/>
          </a:solidFill>
          <a:ln w="9525" cap="rnd" cmpd="sng" algn="ctr">
            <a:solidFill>
              <a:srgbClr val="9A9A9A"/>
            </a:solid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ES" sz="1300" b="1" dirty="0">
                <a:solidFill>
                  <a:srgbClr val="575757"/>
                </a:solidFill>
              </a:rPr>
              <a:t>Deutsche Bank separa a los equipos comerciales y de trading en las oficinas de Frankfurt</a:t>
            </a:r>
            <a:endParaRPr lang="es-ES" sz="1300" b="1" i="1" dirty="0">
              <a:solidFill>
                <a:srgbClr val="575757"/>
              </a:solidFill>
            </a:endParaRPr>
          </a:p>
        </p:txBody>
      </p:sp>
      <p:graphicFrame>
        <p:nvGraphicFramePr>
          <p:cNvPr id="105" name="Chart 104"/>
          <p:cNvGraphicFramePr/>
          <p:nvPr>
            <p:custDataLst>
              <p:tags r:id="rId5"/>
            </p:custDataLst>
            <p:extLst>
              <p:ext uri="{D42A27DB-BD31-4B8C-83A1-F6EECF244321}">
                <p14:modId xmlns:p14="http://schemas.microsoft.com/office/powerpoint/2010/main" val="3588880732"/>
              </p:ext>
            </p:extLst>
          </p:nvPr>
        </p:nvGraphicFramePr>
        <p:xfrm>
          <a:off x="5010150" y="2828925"/>
          <a:ext cx="5337175" cy="3090863"/>
        </p:xfrm>
        <a:graphic>
          <a:graphicData uri="http://schemas.openxmlformats.org/drawingml/2006/chart">
            <c:chart xmlns:c="http://schemas.openxmlformats.org/drawingml/2006/chart" xmlns:r="http://schemas.openxmlformats.org/officeDocument/2006/relationships" r:id="rId45"/>
          </a:graphicData>
        </a:graphic>
      </p:graphicFrame>
      <p:sp>
        <p:nvSpPr>
          <p:cNvPr id="50" name="Text Placeholder 3"/>
          <p:cNvSpPr>
            <a:spLocks noGrp="1"/>
          </p:cNvSpPr>
          <p:nvPr>
            <p:custDataLst>
              <p:tags r:id="rId6"/>
            </p:custDataLst>
          </p:nvPr>
        </p:nvSpPr>
        <p:spPr bwMode="gray">
          <a:xfrm>
            <a:off x="4779963" y="5715000"/>
            <a:ext cx="1952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r">
              <a:spcBef>
                <a:spcPct val="0"/>
              </a:spcBef>
              <a:spcAft>
                <a:spcPct val="0"/>
              </a:spcAft>
            </a:pPr>
            <a:fld id="{62035F17-09B2-4F3D-9F45-427676EAD604}" type="datetime'''0''''''''''''''''''''''''''''''''''''''''''K'''''''''''''''">
              <a:rPr lang="en-US" altLang="en-US" sz="1400" smtClean="0">
                <a:solidFill>
                  <a:schemeClr val="tx1"/>
                </a:solidFill>
              </a:rPr>
              <a:pPr algn="r">
                <a:spcBef>
                  <a:spcPct val="0"/>
                </a:spcBef>
                <a:spcAft>
                  <a:spcPct val="0"/>
                </a:spcAft>
              </a:pPr>
              <a:t>0K</a:t>
            </a:fld>
            <a:endParaRPr lang="en-US" sz="1400" dirty="0">
              <a:solidFill>
                <a:schemeClr val="tx1"/>
              </a:solidFill>
              <a:sym typeface="+mn-lt"/>
            </a:endParaRPr>
          </a:p>
        </p:txBody>
      </p:sp>
      <p:sp>
        <p:nvSpPr>
          <p:cNvPr id="51" name="Text Placeholder 3"/>
          <p:cNvSpPr>
            <a:spLocks noGrp="1"/>
          </p:cNvSpPr>
          <p:nvPr>
            <p:custDataLst>
              <p:tags r:id="rId7"/>
            </p:custDataLst>
          </p:nvPr>
        </p:nvSpPr>
        <p:spPr bwMode="gray">
          <a:xfrm>
            <a:off x="4686300" y="4810125"/>
            <a:ext cx="2889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r">
              <a:spcBef>
                <a:spcPct val="0"/>
              </a:spcBef>
              <a:spcAft>
                <a:spcPct val="0"/>
              </a:spcAft>
            </a:pPr>
            <a:fld id="{DABB677C-8F6E-40A1-9BC5-772218CE0E7B}" type="datetime'''1''''''''''0''''''''''''''''''''K'''''''''''''''''''">
              <a:rPr lang="en-US" altLang="en-US" sz="1400" smtClean="0">
                <a:solidFill>
                  <a:schemeClr val="tx1"/>
                </a:solidFill>
              </a:rPr>
              <a:pPr algn="r">
                <a:spcBef>
                  <a:spcPct val="0"/>
                </a:spcBef>
                <a:spcAft>
                  <a:spcPct val="0"/>
                </a:spcAft>
              </a:pPr>
              <a:t>10K</a:t>
            </a:fld>
            <a:endParaRPr lang="en-US" sz="1400" dirty="0">
              <a:solidFill>
                <a:schemeClr val="tx1"/>
              </a:solidFill>
              <a:sym typeface="+mn-lt"/>
            </a:endParaRPr>
          </a:p>
        </p:txBody>
      </p:sp>
      <p:sp>
        <p:nvSpPr>
          <p:cNvPr id="49" name="Text Placeholder 3"/>
          <p:cNvSpPr>
            <a:spLocks noGrp="1"/>
          </p:cNvSpPr>
          <p:nvPr>
            <p:custDataLst>
              <p:tags r:id="rId8"/>
            </p:custDataLst>
          </p:nvPr>
        </p:nvSpPr>
        <p:spPr bwMode="gray">
          <a:xfrm>
            <a:off x="4686300" y="3905250"/>
            <a:ext cx="2889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B8C649F-1818-4E77-BFD5-D554BEBF1D18}" type="datetime'''''''''''''''''''''2''''''''''''''''0''''''''''''''K'">
              <a:rPr lang="en-US" altLang="en-US" sz="1400" smtClean="0">
                <a:solidFill>
                  <a:srgbClr val="575757"/>
                </a:solidFill>
              </a:rPr>
              <a:pPr algn="r">
                <a:spcBef>
                  <a:spcPct val="0"/>
                </a:spcBef>
                <a:spcAft>
                  <a:spcPct val="0"/>
                </a:spcAft>
              </a:pPr>
              <a:t>20K</a:t>
            </a:fld>
            <a:endParaRPr lang="en-US" sz="1400" dirty="0">
              <a:solidFill>
                <a:srgbClr val="575757"/>
              </a:solidFill>
              <a:sym typeface="+mn-lt"/>
            </a:endParaRPr>
          </a:p>
        </p:txBody>
      </p:sp>
      <p:sp>
        <p:nvSpPr>
          <p:cNvPr id="52" name="Text Placeholder 3"/>
          <p:cNvSpPr>
            <a:spLocks noGrp="1"/>
          </p:cNvSpPr>
          <p:nvPr>
            <p:custDataLst>
              <p:tags r:id="rId9"/>
            </p:custDataLst>
          </p:nvPr>
        </p:nvSpPr>
        <p:spPr bwMode="gray">
          <a:xfrm>
            <a:off x="4686300" y="3001963"/>
            <a:ext cx="2889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CAE5EE9-D87D-4D13-8F8D-60D424601EA2}" type="datetime'''''''3''''0''''''''''''K'''''''''''''">
              <a:rPr lang="en-US" altLang="en-US" sz="1400" smtClean="0"/>
              <a:pPr algn="r">
                <a:spcBef>
                  <a:spcPct val="0"/>
                </a:spcBef>
                <a:spcAft>
                  <a:spcPct val="0"/>
                </a:spcAft>
              </a:pPr>
              <a:t>30K</a:t>
            </a:fld>
            <a:endParaRPr lang="en-US" sz="1400" dirty="0">
              <a:sym typeface="+mn-lt"/>
            </a:endParaRPr>
          </a:p>
        </p:txBody>
      </p:sp>
      <p:sp>
        <p:nvSpPr>
          <p:cNvPr id="56" name="Text Placeholder 3"/>
          <p:cNvSpPr>
            <a:spLocks noGrp="1"/>
          </p:cNvSpPr>
          <p:nvPr>
            <p:custDataLst>
              <p:tags r:id="rId10"/>
            </p:custDataLst>
          </p:nvPr>
        </p:nvSpPr>
        <p:spPr bwMode="gray">
          <a:xfrm>
            <a:off x="4973638"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AE814E4F-FE02-4E9D-8284-B5B3607A9E41}" type="datetime'''''''''''''''''''''''1''''''''3''''-F''''e''''''''b'">
              <a:rPr lang="en-US" altLang="en-US" sz="1100" smtClean="0">
                <a:solidFill>
                  <a:schemeClr val="tx1"/>
                </a:solidFill>
              </a:rPr>
              <a:pPr algn="ctr">
                <a:spcBef>
                  <a:spcPct val="0"/>
                </a:spcBef>
                <a:spcAft>
                  <a:spcPct val="0"/>
                </a:spcAft>
              </a:pPr>
              <a:t>13-Feb</a:t>
            </a:fld>
            <a:endParaRPr lang="en-US" sz="1100" dirty="0">
              <a:solidFill>
                <a:schemeClr val="tx1"/>
              </a:solidFill>
              <a:sym typeface="+mn-lt"/>
            </a:endParaRPr>
          </a:p>
        </p:txBody>
      </p:sp>
      <p:sp>
        <p:nvSpPr>
          <p:cNvPr id="58" name="Text Placeholder 3"/>
          <p:cNvSpPr>
            <a:spLocks noGrp="1"/>
          </p:cNvSpPr>
          <p:nvPr>
            <p:custDataLst>
              <p:tags r:id="rId11"/>
            </p:custDataLst>
          </p:nvPr>
        </p:nvSpPr>
        <p:spPr bwMode="gray">
          <a:xfrm>
            <a:off x="6199188"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0042E2BF-3BF0-41FD-9C5F-D2ED9F7C78A8}" type="datetime'''''''''2''2''''''''''''''''''''-''''Fe''''''''''b'''''''''">
              <a:rPr lang="en-US" altLang="en-US" sz="1100" smtClean="0">
                <a:solidFill>
                  <a:schemeClr val="tx1"/>
                </a:solidFill>
              </a:rPr>
              <a:pPr algn="ctr">
                <a:spcBef>
                  <a:spcPct val="0"/>
                </a:spcBef>
                <a:spcAft>
                  <a:spcPct val="0"/>
                </a:spcAft>
              </a:pPr>
              <a:t>22-Feb</a:t>
            </a:fld>
            <a:endParaRPr lang="en-US" sz="1100" dirty="0">
              <a:solidFill>
                <a:schemeClr val="tx1"/>
              </a:solidFill>
              <a:sym typeface="+mn-lt"/>
            </a:endParaRPr>
          </a:p>
        </p:txBody>
      </p:sp>
      <p:sp>
        <p:nvSpPr>
          <p:cNvPr id="64" name="Text Placeholder 3"/>
          <p:cNvSpPr>
            <a:spLocks noGrp="1"/>
          </p:cNvSpPr>
          <p:nvPr>
            <p:custDataLst>
              <p:tags r:id="rId12"/>
            </p:custDataLst>
          </p:nvPr>
        </p:nvSpPr>
        <p:spPr bwMode="gray">
          <a:xfrm>
            <a:off x="8648700"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7C776FF4-8356-4573-8825-954903123C9F}" type="datetime'''''1''1''''''''''''''''''''-''M''''''a''''''''r'">
              <a:rPr lang="en-US" altLang="en-US" sz="1100" smtClean="0">
                <a:solidFill>
                  <a:schemeClr val="tx1"/>
                </a:solidFill>
              </a:rPr>
              <a:pPr algn="ctr">
                <a:spcBef>
                  <a:spcPct val="0"/>
                </a:spcBef>
                <a:spcAft>
                  <a:spcPct val="0"/>
                </a:spcAft>
              </a:pPr>
              <a:t>11-Mar</a:t>
            </a:fld>
            <a:endParaRPr lang="en-US" sz="1100" dirty="0">
              <a:solidFill>
                <a:schemeClr val="tx1"/>
              </a:solidFill>
              <a:sym typeface="+mn-lt"/>
            </a:endParaRPr>
          </a:p>
        </p:txBody>
      </p:sp>
      <p:sp>
        <p:nvSpPr>
          <p:cNvPr id="57" name="Text Placeholder 3"/>
          <p:cNvSpPr>
            <a:spLocks noGrp="1"/>
          </p:cNvSpPr>
          <p:nvPr>
            <p:custDataLst>
              <p:tags r:id="rId13"/>
            </p:custDataLst>
          </p:nvPr>
        </p:nvSpPr>
        <p:spPr bwMode="gray">
          <a:xfrm>
            <a:off x="5381625"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01A96B0C-16BB-414B-BD3A-9645DE5B3536}" type="datetime'''''''''''''''''1''6''''''''-''''F''''''''e''''b'''''''''''''">
              <a:rPr lang="en-US" altLang="en-US" sz="1100" smtClean="0">
                <a:solidFill>
                  <a:schemeClr val="tx1"/>
                </a:solidFill>
              </a:rPr>
              <a:pPr algn="ctr">
                <a:spcBef>
                  <a:spcPct val="0"/>
                </a:spcBef>
                <a:spcAft>
                  <a:spcPct val="0"/>
                </a:spcAft>
              </a:pPr>
              <a:t>16-Feb</a:t>
            </a:fld>
            <a:endParaRPr lang="en-US" sz="1100" dirty="0">
              <a:solidFill>
                <a:schemeClr val="tx1"/>
              </a:solidFill>
              <a:sym typeface="+mn-lt"/>
            </a:endParaRPr>
          </a:p>
        </p:txBody>
      </p:sp>
      <p:sp>
        <p:nvSpPr>
          <p:cNvPr id="55" name="Text Placeholder 3"/>
          <p:cNvSpPr>
            <a:spLocks noGrp="1"/>
          </p:cNvSpPr>
          <p:nvPr>
            <p:custDataLst>
              <p:tags r:id="rId14"/>
            </p:custDataLst>
          </p:nvPr>
        </p:nvSpPr>
        <p:spPr bwMode="gray">
          <a:xfrm>
            <a:off x="5789613"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3D075178-7D16-4506-8319-C31E0C357C75}" type="datetime'''19''''''''''''''''''''''''''''''''''''-''''Feb'''''''''">
              <a:rPr lang="en-US" altLang="en-US" sz="1100" smtClean="0">
                <a:solidFill>
                  <a:schemeClr val="tx1"/>
                </a:solidFill>
              </a:rPr>
              <a:pPr algn="ctr">
                <a:spcBef>
                  <a:spcPct val="0"/>
                </a:spcBef>
                <a:spcAft>
                  <a:spcPct val="0"/>
                </a:spcAft>
              </a:pPr>
              <a:t>19-Feb</a:t>
            </a:fld>
            <a:endParaRPr lang="en-US" sz="1100" dirty="0">
              <a:solidFill>
                <a:schemeClr val="tx1"/>
              </a:solidFill>
              <a:sym typeface="+mn-lt"/>
            </a:endParaRPr>
          </a:p>
        </p:txBody>
      </p:sp>
      <p:sp>
        <p:nvSpPr>
          <p:cNvPr id="59" name="Text Placeholder 3"/>
          <p:cNvSpPr>
            <a:spLocks noGrp="1"/>
          </p:cNvSpPr>
          <p:nvPr>
            <p:custDataLst>
              <p:tags r:id="rId15"/>
            </p:custDataLst>
          </p:nvPr>
        </p:nvSpPr>
        <p:spPr bwMode="gray">
          <a:xfrm>
            <a:off x="6607175"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A922924B-DD24-4DA4-9CCE-F2D548611CCD}" type="datetime'''''2''''''''''''''''''''''''''5-F''''''''''''e''''''''b'''">
              <a:rPr lang="en-US" altLang="en-US" sz="1100" smtClean="0">
                <a:solidFill>
                  <a:schemeClr val="tx1"/>
                </a:solidFill>
              </a:rPr>
              <a:pPr algn="ctr">
                <a:spcBef>
                  <a:spcPct val="0"/>
                </a:spcBef>
                <a:spcAft>
                  <a:spcPct val="0"/>
                </a:spcAft>
              </a:pPr>
              <a:t>25-Feb</a:t>
            </a:fld>
            <a:endParaRPr lang="en-US" sz="1100" dirty="0">
              <a:solidFill>
                <a:schemeClr val="tx1"/>
              </a:solidFill>
              <a:sym typeface="+mn-lt"/>
            </a:endParaRPr>
          </a:p>
        </p:txBody>
      </p:sp>
      <p:sp>
        <p:nvSpPr>
          <p:cNvPr id="60" name="Text Placeholder 3"/>
          <p:cNvSpPr>
            <a:spLocks noGrp="1"/>
          </p:cNvSpPr>
          <p:nvPr>
            <p:custDataLst>
              <p:tags r:id="rId16"/>
            </p:custDataLst>
          </p:nvPr>
        </p:nvSpPr>
        <p:spPr bwMode="gray">
          <a:xfrm>
            <a:off x="7015163" y="5883275"/>
            <a:ext cx="239713"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70050AE4-B07B-4975-B145-168A9D175716}" type="datetime'''''''''''''''''2''''''''8''''''''''''''''''''-F''eb'''''''''">
              <a:rPr lang="en-US" altLang="en-US" sz="1100" smtClean="0">
                <a:solidFill>
                  <a:schemeClr val="tx1"/>
                </a:solidFill>
              </a:rPr>
              <a:pPr algn="ctr">
                <a:spcBef>
                  <a:spcPct val="0"/>
                </a:spcBef>
                <a:spcAft>
                  <a:spcPct val="0"/>
                </a:spcAft>
              </a:pPr>
              <a:t>28-Feb</a:t>
            </a:fld>
            <a:endParaRPr lang="en-US" sz="1100" dirty="0">
              <a:solidFill>
                <a:schemeClr val="tx1"/>
              </a:solidFill>
              <a:sym typeface="+mn-lt"/>
            </a:endParaRPr>
          </a:p>
        </p:txBody>
      </p:sp>
      <p:sp>
        <p:nvSpPr>
          <p:cNvPr id="61" name="Text Placeholder 3"/>
          <p:cNvSpPr>
            <a:spLocks noGrp="1"/>
          </p:cNvSpPr>
          <p:nvPr>
            <p:custDataLst>
              <p:tags r:id="rId17"/>
            </p:custDataLst>
          </p:nvPr>
        </p:nvSpPr>
        <p:spPr bwMode="gray">
          <a:xfrm>
            <a:off x="7423150"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28F6A152-BAE9-4DAD-B552-C4BF3B9AB0AA}" type="datetime'''''''''''''''''''''2''''-''''''M''a''''''''''''r'''''''">
              <a:rPr lang="en-US" altLang="en-US" sz="1100" smtClean="0">
                <a:solidFill>
                  <a:schemeClr val="tx1"/>
                </a:solidFill>
              </a:rPr>
              <a:pPr algn="ctr">
                <a:spcBef>
                  <a:spcPct val="0"/>
                </a:spcBef>
                <a:spcAft>
                  <a:spcPct val="0"/>
                </a:spcAft>
              </a:pPr>
              <a:t>2-Mar</a:t>
            </a:fld>
            <a:endParaRPr lang="en-US" sz="1100" dirty="0">
              <a:solidFill>
                <a:schemeClr val="tx1"/>
              </a:solidFill>
              <a:sym typeface="+mn-lt"/>
            </a:endParaRPr>
          </a:p>
        </p:txBody>
      </p:sp>
      <p:sp>
        <p:nvSpPr>
          <p:cNvPr id="62" name="Text Placeholder 3"/>
          <p:cNvSpPr>
            <a:spLocks noGrp="1"/>
          </p:cNvSpPr>
          <p:nvPr>
            <p:custDataLst>
              <p:tags r:id="rId18"/>
            </p:custDataLst>
          </p:nvPr>
        </p:nvSpPr>
        <p:spPr bwMode="gray">
          <a:xfrm>
            <a:off x="7831138"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78FC2BF3-5C9B-4EE4-BDCC-CC8C16E78564}" type="datetime'''''5''''''''''''''''''''-Ma''''''''''r'''">
              <a:rPr lang="en-US" altLang="en-US" sz="1100" smtClean="0">
                <a:solidFill>
                  <a:schemeClr val="tx1"/>
                </a:solidFill>
              </a:rPr>
              <a:pPr algn="ctr">
                <a:spcBef>
                  <a:spcPct val="0"/>
                </a:spcBef>
                <a:spcAft>
                  <a:spcPct val="0"/>
                </a:spcAft>
              </a:pPr>
              <a:t>5-Mar</a:t>
            </a:fld>
            <a:endParaRPr lang="en-US" sz="1100" dirty="0">
              <a:solidFill>
                <a:schemeClr val="tx1"/>
              </a:solidFill>
              <a:sym typeface="+mn-lt"/>
            </a:endParaRPr>
          </a:p>
        </p:txBody>
      </p:sp>
      <p:sp>
        <p:nvSpPr>
          <p:cNvPr id="63" name="Text Placeholder 3"/>
          <p:cNvSpPr>
            <a:spLocks noGrp="1"/>
          </p:cNvSpPr>
          <p:nvPr>
            <p:custDataLst>
              <p:tags r:id="rId19"/>
            </p:custDataLst>
          </p:nvPr>
        </p:nvSpPr>
        <p:spPr bwMode="gray">
          <a:xfrm>
            <a:off x="8240713"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ACA67FAD-A366-4413-9B6E-1CBEEF8EA12B}" type="datetime'''''8''''''''-''''''''''''''''''''''''''Ma''''''''''r'">
              <a:rPr lang="en-US" altLang="en-US" sz="1100" smtClean="0">
                <a:solidFill>
                  <a:schemeClr val="tx1"/>
                </a:solidFill>
              </a:rPr>
              <a:pPr algn="ctr">
                <a:spcBef>
                  <a:spcPct val="0"/>
                </a:spcBef>
                <a:spcAft>
                  <a:spcPct val="0"/>
                </a:spcAft>
              </a:pPr>
              <a:t>8-Mar</a:t>
            </a:fld>
            <a:endParaRPr lang="en-US" sz="1100" dirty="0">
              <a:solidFill>
                <a:schemeClr val="tx1"/>
              </a:solidFill>
              <a:sym typeface="+mn-lt"/>
            </a:endParaRPr>
          </a:p>
        </p:txBody>
      </p:sp>
      <p:sp>
        <p:nvSpPr>
          <p:cNvPr id="65" name="Text Placeholder 3"/>
          <p:cNvSpPr>
            <a:spLocks noGrp="1"/>
          </p:cNvSpPr>
          <p:nvPr>
            <p:custDataLst>
              <p:tags r:id="rId20"/>
            </p:custDataLst>
          </p:nvPr>
        </p:nvSpPr>
        <p:spPr bwMode="gray">
          <a:xfrm>
            <a:off x="9056688"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62810045-D9E4-4569-99D7-CE24B6077F78}" type="datetime'''''''1''''''''''''''''4''-''''''''''''M''''''ar'''''''''''''">
              <a:rPr lang="en-US" altLang="en-US" sz="1100" smtClean="0">
                <a:solidFill>
                  <a:schemeClr val="tx1"/>
                </a:solidFill>
              </a:rPr>
              <a:pPr algn="ctr">
                <a:spcBef>
                  <a:spcPct val="0"/>
                </a:spcBef>
                <a:spcAft>
                  <a:spcPct val="0"/>
                </a:spcAft>
              </a:pPr>
              <a:t>14-Mar</a:t>
            </a:fld>
            <a:endParaRPr lang="en-US" sz="1100" dirty="0">
              <a:solidFill>
                <a:schemeClr val="tx1"/>
              </a:solidFill>
              <a:sym typeface="+mn-lt"/>
            </a:endParaRPr>
          </a:p>
        </p:txBody>
      </p:sp>
      <p:sp>
        <p:nvSpPr>
          <p:cNvPr id="66" name="Text Placeholder 3"/>
          <p:cNvSpPr>
            <a:spLocks noGrp="1"/>
          </p:cNvSpPr>
          <p:nvPr>
            <p:custDataLst>
              <p:tags r:id="rId21"/>
            </p:custDataLst>
          </p:nvPr>
        </p:nvSpPr>
        <p:spPr bwMode="gray">
          <a:xfrm>
            <a:off x="9464675"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33040A13-61EE-4F00-BF09-4556ED76B2BC}" type="datetime'''1''7-M''''''''''''''''''''a''''''''''''r'''''''''''''''">
              <a:rPr lang="en-US" altLang="en-US" sz="1100" smtClean="0">
                <a:solidFill>
                  <a:schemeClr val="tx1"/>
                </a:solidFill>
              </a:rPr>
              <a:pPr algn="ctr">
                <a:spcBef>
                  <a:spcPct val="0"/>
                </a:spcBef>
                <a:spcAft>
                  <a:spcPct val="0"/>
                </a:spcAft>
              </a:pPr>
              <a:t>17-Mar</a:t>
            </a:fld>
            <a:endParaRPr lang="en-US" sz="1100" dirty="0">
              <a:solidFill>
                <a:schemeClr val="tx1"/>
              </a:solidFill>
              <a:sym typeface="+mn-lt"/>
            </a:endParaRPr>
          </a:p>
        </p:txBody>
      </p:sp>
      <p:sp>
        <p:nvSpPr>
          <p:cNvPr id="67" name="Text Placeholder 3"/>
          <p:cNvSpPr>
            <a:spLocks noGrp="1"/>
          </p:cNvSpPr>
          <p:nvPr>
            <p:custDataLst>
              <p:tags r:id="rId22"/>
            </p:custDataLst>
          </p:nvPr>
        </p:nvSpPr>
        <p:spPr bwMode="gray">
          <a:xfrm>
            <a:off x="10145713" y="5883275"/>
            <a:ext cx="238125"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lgn="ctr">
              <a:spcBef>
                <a:spcPct val="0"/>
              </a:spcBef>
              <a:spcAft>
                <a:spcPct val="0"/>
              </a:spcAft>
            </a:pPr>
            <a:fld id="{02D537A2-47B1-4827-99E7-4D930A362766}" type="datetime'''''''''''''''22-M''''''''''''a''''''''''r'''''''''''">
              <a:rPr lang="en-US" altLang="en-US" sz="1100" smtClean="0">
                <a:solidFill>
                  <a:schemeClr val="tx1"/>
                </a:solidFill>
              </a:rPr>
              <a:pPr algn="ctr">
                <a:spcBef>
                  <a:spcPct val="0"/>
                </a:spcBef>
                <a:spcAft>
                  <a:spcPct val="0"/>
                </a:spcAft>
              </a:pPr>
              <a:t>22-Mar</a:t>
            </a:fld>
            <a:endParaRPr lang="en-US" sz="1100" dirty="0">
              <a:solidFill>
                <a:schemeClr val="tx1"/>
              </a:solidFill>
              <a:sym typeface="+mn-lt"/>
            </a:endParaRPr>
          </a:p>
        </p:txBody>
      </p:sp>
      <p:sp>
        <p:nvSpPr>
          <p:cNvPr id="73" name="Rectangle 72"/>
          <p:cNvSpPr/>
          <p:nvPr>
            <p:custDataLst>
              <p:tags r:id="rId23"/>
            </p:custDataLst>
          </p:nvPr>
        </p:nvSpPr>
        <p:spPr bwMode="gray">
          <a:xfrm>
            <a:off x="10388600" y="3813175"/>
            <a:ext cx="214313" cy="160338"/>
          </a:xfrm>
          <a:prstGeom prst="rect">
            <a:avLst/>
          </a:prstGeom>
          <a:solidFill>
            <a:srgbClr val="FFFFB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Rectangle 70"/>
          <p:cNvSpPr/>
          <p:nvPr>
            <p:custDataLst>
              <p:tags r:id="rId24"/>
            </p:custDataLst>
          </p:nvPr>
        </p:nvSpPr>
        <p:spPr bwMode="gray">
          <a:xfrm>
            <a:off x="10388600" y="3560763"/>
            <a:ext cx="214313" cy="160338"/>
          </a:xfrm>
          <a:prstGeom prst="rect">
            <a:avLst/>
          </a:prstGeom>
          <a:solidFill>
            <a:schemeClr val="tx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6" name="Rectangle 75"/>
          <p:cNvSpPr/>
          <p:nvPr>
            <p:custDataLst>
              <p:tags r:id="rId25"/>
            </p:custDataLst>
          </p:nvPr>
        </p:nvSpPr>
        <p:spPr bwMode="gray">
          <a:xfrm>
            <a:off x="10388600" y="4318000"/>
            <a:ext cx="214313" cy="160338"/>
          </a:xfrm>
          <a:prstGeom prst="rect">
            <a:avLst/>
          </a:prstGeom>
          <a:solidFill>
            <a:srgbClr val="89364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5" name="Rectangle 74"/>
          <p:cNvSpPr/>
          <p:nvPr>
            <p:custDataLst>
              <p:tags r:id="rId26"/>
            </p:custDataLst>
          </p:nvPr>
        </p:nvSpPr>
        <p:spPr bwMode="gray">
          <a:xfrm>
            <a:off x="10388600" y="4065588"/>
            <a:ext cx="214313" cy="160338"/>
          </a:xfrm>
          <a:prstGeom prst="rect">
            <a:avLst/>
          </a:prstGeom>
          <a:solidFill>
            <a:srgbClr val="7DCCA5"/>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7" name="Rectangle 76"/>
          <p:cNvSpPr/>
          <p:nvPr>
            <p:custDataLst>
              <p:tags r:id="rId27"/>
            </p:custDataLst>
          </p:nvPr>
        </p:nvSpPr>
        <p:spPr bwMode="gray">
          <a:xfrm>
            <a:off x="10388600" y="4570413"/>
            <a:ext cx="214313" cy="160338"/>
          </a:xfrm>
          <a:prstGeom prst="rect">
            <a:avLst/>
          </a:prstGeom>
          <a:solidFill>
            <a:srgbClr val="46C7D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Rectangle 77"/>
          <p:cNvSpPr/>
          <p:nvPr>
            <p:custDataLst>
              <p:tags r:id="rId28"/>
            </p:custDataLst>
          </p:nvPr>
        </p:nvSpPr>
        <p:spPr bwMode="gray">
          <a:xfrm>
            <a:off x="10388600" y="4822825"/>
            <a:ext cx="214313" cy="160338"/>
          </a:xfrm>
          <a:prstGeom prst="rect">
            <a:avLst/>
          </a:prstGeom>
          <a:solidFill>
            <a:schemeClr val="accent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9" name="Rectangle 78"/>
          <p:cNvSpPr/>
          <p:nvPr>
            <p:custDataLst>
              <p:tags r:id="rId29"/>
            </p:custDataLst>
          </p:nvPr>
        </p:nvSpPr>
        <p:spPr bwMode="gray">
          <a:xfrm>
            <a:off x="10388600" y="5075238"/>
            <a:ext cx="214313" cy="160338"/>
          </a:xfrm>
          <a:prstGeom prst="rect">
            <a:avLst/>
          </a:prstGeom>
          <a:solidFill>
            <a:srgbClr val="E71C5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0" name="Rectangle 69"/>
          <p:cNvSpPr/>
          <p:nvPr>
            <p:custDataLst>
              <p:tags r:id="rId30"/>
            </p:custDataLst>
          </p:nvPr>
        </p:nvSpPr>
        <p:spPr bwMode="gray">
          <a:xfrm>
            <a:off x="10388600" y="5327650"/>
            <a:ext cx="214313" cy="160338"/>
          </a:xfrm>
          <a:prstGeom prst="rect">
            <a:avLst/>
          </a:prstGeom>
          <a:solidFill>
            <a:srgbClr val="7F7F7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0" name="Rectangle 79"/>
          <p:cNvSpPr/>
          <p:nvPr>
            <p:custDataLst>
              <p:tags r:id="rId31"/>
            </p:custDataLst>
          </p:nvPr>
        </p:nvSpPr>
        <p:spPr bwMode="gray">
          <a:xfrm>
            <a:off x="10388600" y="5580063"/>
            <a:ext cx="214313" cy="160338"/>
          </a:xfrm>
          <a:prstGeom prst="rect">
            <a:avLst/>
          </a:prstGeom>
          <a:solidFill>
            <a:srgbClr val="D9D9D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Text Placeholder 3"/>
          <p:cNvSpPr>
            <a:spLocks noGrp="1"/>
          </p:cNvSpPr>
          <p:nvPr>
            <p:custDataLst>
              <p:tags r:id="rId32"/>
            </p:custDataLst>
          </p:nvPr>
        </p:nvSpPr>
        <p:spPr bwMode="gray">
          <a:xfrm>
            <a:off x="10653713" y="3556000"/>
            <a:ext cx="301625"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3A847724-F749-4234-9CC7-3E784F2EC7BF}" type="datetime'''''''''''''''''''It''''a''''''''''''''l''''''y'''''''''">
              <a:rPr lang="en-US" altLang="en-US" smtClean="0">
                <a:solidFill>
                  <a:schemeClr val="tx1"/>
                </a:solidFill>
              </a:rPr>
              <a:pPr>
                <a:spcBef>
                  <a:spcPct val="0"/>
                </a:spcBef>
                <a:spcAft>
                  <a:spcPct val="0"/>
                </a:spcAft>
              </a:pPr>
              <a:t>Italy</a:t>
            </a:fld>
            <a:endParaRPr lang="en-US" dirty="0">
              <a:solidFill>
                <a:schemeClr val="tx1"/>
              </a:solidFill>
              <a:sym typeface="+mn-lt"/>
            </a:endParaRPr>
          </a:p>
        </p:txBody>
      </p:sp>
      <p:sp>
        <p:nvSpPr>
          <p:cNvPr id="86" name="Text Placeholder 3"/>
          <p:cNvSpPr>
            <a:spLocks noGrp="1"/>
          </p:cNvSpPr>
          <p:nvPr>
            <p:custDataLst>
              <p:tags r:id="rId33"/>
            </p:custDataLst>
          </p:nvPr>
        </p:nvSpPr>
        <p:spPr bwMode="gray">
          <a:xfrm>
            <a:off x="10653713" y="4818063"/>
            <a:ext cx="608013"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2F1DE5E2-19C6-497C-BC73-5410C41160B9}" type="datetime'''''''''''''''G''e''''''''r''''man''''''''''''''''y'''''''">
              <a:rPr lang="en-US" altLang="en-US" smtClean="0">
                <a:solidFill>
                  <a:schemeClr val="tx1"/>
                </a:solidFill>
              </a:rPr>
              <a:pPr>
                <a:spcBef>
                  <a:spcPct val="0"/>
                </a:spcBef>
                <a:spcAft>
                  <a:spcPct val="0"/>
                </a:spcAft>
              </a:pPr>
              <a:t>Germany</a:t>
            </a:fld>
            <a:endParaRPr lang="en-US" dirty="0">
              <a:solidFill>
                <a:schemeClr val="tx1"/>
              </a:solidFill>
              <a:sym typeface="+mn-lt"/>
            </a:endParaRPr>
          </a:p>
        </p:txBody>
      </p:sp>
      <p:sp>
        <p:nvSpPr>
          <p:cNvPr id="85" name="Text Placeholder 3"/>
          <p:cNvSpPr>
            <a:spLocks noGrp="1"/>
          </p:cNvSpPr>
          <p:nvPr>
            <p:custDataLst>
              <p:tags r:id="rId34"/>
            </p:custDataLst>
          </p:nvPr>
        </p:nvSpPr>
        <p:spPr bwMode="gray">
          <a:xfrm>
            <a:off x="10653713" y="3808413"/>
            <a:ext cx="263525"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FCAD150D-35C8-4653-866B-F9E918831486}" type="datetime'Ir''''''''''''''''''a''''''''''''''''''''n'''''''''''''''''">
              <a:rPr lang="en-US" altLang="en-US" smtClean="0">
                <a:solidFill>
                  <a:schemeClr val="tx1"/>
                </a:solidFill>
              </a:rPr>
              <a:pPr>
                <a:spcBef>
                  <a:spcPct val="0"/>
                </a:spcBef>
                <a:spcAft>
                  <a:spcPct val="0"/>
                </a:spcAft>
              </a:pPr>
              <a:t>Iran</a:t>
            </a:fld>
            <a:endParaRPr lang="en-US" dirty="0">
              <a:solidFill>
                <a:schemeClr val="tx1"/>
              </a:solidFill>
              <a:sym typeface="+mn-lt"/>
            </a:endParaRPr>
          </a:p>
        </p:txBody>
      </p:sp>
      <p:sp>
        <p:nvSpPr>
          <p:cNvPr id="84" name="Text Placeholder 3"/>
          <p:cNvSpPr>
            <a:spLocks noGrp="1"/>
          </p:cNvSpPr>
          <p:nvPr>
            <p:custDataLst>
              <p:tags r:id="rId35"/>
            </p:custDataLst>
          </p:nvPr>
        </p:nvSpPr>
        <p:spPr bwMode="gray">
          <a:xfrm>
            <a:off x="10653713" y="4060825"/>
            <a:ext cx="812800"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6BE3E8BE-3006-4384-9089-D58452AE3DA2}" type="datetime'So''''''u''''''''''t''''''''''''''h'''' ''''''''Ko''''''rea'''">
              <a:rPr lang="en-US" altLang="en-US" smtClean="0">
                <a:solidFill>
                  <a:schemeClr val="tx1"/>
                </a:solidFill>
              </a:rPr>
              <a:pPr>
                <a:spcBef>
                  <a:spcPct val="0"/>
                </a:spcBef>
                <a:spcAft>
                  <a:spcPct val="0"/>
                </a:spcAft>
              </a:pPr>
              <a:t>South Korea</a:t>
            </a:fld>
            <a:endParaRPr lang="en-US" dirty="0">
              <a:solidFill>
                <a:schemeClr val="tx1"/>
              </a:solidFill>
              <a:sym typeface="+mn-lt"/>
            </a:endParaRPr>
          </a:p>
        </p:txBody>
      </p:sp>
      <p:sp>
        <p:nvSpPr>
          <p:cNvPr id="83" name="Text Placeholder 3"/>
          <p:cNvSpPr>
            <a:spLocks noGrp="1"/>
          </p:cNvSpPr>
          <p:nvPr>
            <p:custDataLst>
              <p:tags r:id="rId36"/>
            </p:custDataLst>
          </p:nvPr>
        </p:nvSpPr>
        <p:spPr bwMode="gray">
          <a:xfrm>
            <a:off x="10653713" y="4313238"/>
            <a:ext cx="361950"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0A22AC67-79BA-4496-A09F-4574885EC5CD}" type="datetime'''S''p''a''''''i''''''''''''''n'''''">
              <a:rPr lang="en-US" altLang="en-US" smtClean="0">
                <a:solidFill>
                  <a:schemeClr val="tx1"/>
                </a:solidFill>
              </a:rPr>
              <a:pPr>
                <a:spcBef>
                  <a:spcPct val="0"/>
                </a:spcBef>
                <a:spcAft>
                  <a:spcPct val="0"/>
                </a:spcAft>
              </a:pPr>
              <a:t>Spain</a:t>
            </a:fld>
            <a:endParaRPr lang="en-US" dirty="0">
              <a:solidFill>
                <a:schemeClr val="tx1"/>
              </a:solidFill>
              <a:sym typeface="+mn-lt"/>
            </a:endParaRPr>
          </a:p>
        </p:txBody>
      </p:sp>
      <p:sp>
        <p:nvSpPr>
          <p:cNvPr id="81" name="Text Placeholder 3"/>
          <p:cNvSpPr>
            <a:spLocks noGrp="1"/>
          </p:cNvSpPr>
          <p:nvPr>
            <p:custDataLst>
              <p:tags r:id="rId37"/>
            </p:custDataLst>
          </p:nvPr>
        </p:nvSpPr>
        <p:spPr bwMode="gray">
          <a:xfrm>
            <a:off x="10653713" y="4565650"/>
            <a:ext cx="458788"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F8D4DD7D-FB72-4797-8FCF-332A8E035536}" type="datetime'''''''''F''''''''''ra''n''''c''''''''''''''''e'''''">
              <a:rPr lang="en-US" altLang="en-US" smtClean="0">
                <a:solidFill>
                  <a:schemeClr val="tx1"/>
                </a:solidFill>
              </a:rPr>
              <a:pPr>
                <a:spcBef>
                  <a:spcPct val="0"/>
                </a:spcBef>
                <a:spcAft>
                  <a:spcPct val="0"/>
                </a:spcAft>
              </a:pPr>
              <a:t>France</a:t>
            </a:fld>
            <a:endParaRPr lang="en-US" dirty="0">
              <a:solidFill>
                <a:schemeClr val="tx1"/>
              </a:solidFill>
              <a:sym typeface="+mn-lt"/>
            </a:endParaRPr>
          </a:p>
        </p:txBody>
      </p:sp>
      <p:sp>
        <p:nvSpPr>
          <p:cNvPr id="88" name="Text Placeholder 3"/>
          <p:cNvSpPr>
            <a:spLocks noGrp="1"/>
          </p:cNvSpPr>
          <p:nvPr>
            <p:custDataLst>
              <p:tags r:id="rId38"/>
            </p:custDataLst>
          </p:nvPr>
        </p:nvSpPr>
        <p:spPr bwMode="gray">
          <a:xfrm>
            <a:off x="10653713" y="5322888"/>
            <a:ext cx="295275"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r>
              <a:rPr lang="en-US" altLang="en-US" dirty="0">
                <a:solidFill>
                  <a:schemeClr val="tx1"/>
                </a:solidFill>
              </a:rPr>
              <a:t>RoW</a:t>
            </a:r>
            <a:endParaRPr lang="en-US" dirty="0">
              <a:solidFill>
                <a:schemeClr val="tx1"/>
              </a:solidFill>
              <a:sym typeface="+mn-lt"/>
            </a:endParaRPr>
          </a:p>
        </p:txBody>
      </p:sp>
      <p:sp>
        <p:nvSpPr>
          <p:cNvPr id="87" name="Text Placeholder 3"/>
          <p:cNvSpPr>
            <a:spLocks noGrp="1"/>
          </p:cNvSpPr>
          <p:nvPr>
            <p:custDataLst>
              <p:tags r:id="rId39"/>
            </p:custDataLst>
          </p:nvPr>
        </p:nvSpPr>
        <p:spPr bwMode="gray">
          <a:xfrm>
            <a:off x="10653713" y="5070475"/>
            <a:ext cx="171450"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67EAFBD3-D288-4BFD-8B8E-FA4A6827A26E}" type="datetime'''''''''''''''''''''U''''''S'''''''''''''''''''''''''">
              <a:rPr lang="en-US" altLang="en-US" smtClean="0">
                <a:solidFill>
                  <a:schemeClr val="tx1"/>
                </a:solidFill>
              </a:rPr>
              <a:pPr>
                <a:spcBef>
                  <a:spcPct val="0"/>
                </a:spcBef>
                <a:spcAft>
                  <a:spcPct val="0"/>
                </a:spcAft>
              </a:pPr>
              <a:t>US</a:t>
            </a:fld>
            <a:endParaRPr lang="en-US" dirty="0">
              <a:solidFill>
                <a:schemeClr val="tx1"/>
              </a:solidFill>
              <a:sym typeface="+mn-lt"/>
            </a:endParaRPr>
          </a:p>
        </p:txBody>
      </p:sp>
      <p:sp>
        <p:nvSpPr>
          <p:cNvPr id="89" name="Text Placeholder 3"/>
          <p:cNvSpPr>
            <a:spLocks noGrp="1"/>
          </p:cNvSpPr>
          <p:nvPr>
            <p:custDataLst>
              <p:tags r:id="rId40"/>
            </p:custDataLst>
          </p:nvPr>
        </p:nvSpPr>
        <p:spPr bwMode="gray">
          <a:xfrm>
            <a:off x="10653713" y="5575300"/>
            <a:ext cx="949325" cy="201613"/>
          </a:xfrm>
          <a:prstGeom prst="rect">
            <a:avLst/>
          </a:prstGeom>
          <a:noFill/>
          <a:ln>
            <a:noFill/>
          </a:ln>
          <a:extLst>
            <a:ext uri="{909E8E84-426E-40DD-AFC4-6F175D3DCCD1}">
              <a14:hiddenFill xmlns:a14="http://schemas.microsoft.com/office/drawing/2010/main">
                <a:solidFill>
                  <a:schemeClr val="accent3">
                    <a:lumMod val="75000"/>
                  </a:schemeClr>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a:lstStyle>
          <a:p>
            <a:pPr>
              <a:spcBef>
                <a:spcPct val="0"/>
              </a:spcBef>
              <a:spcAft>
                <a:spcPct val="0"/>
              </a:spcAft>
            </a:pPr>
            <a:fld id="{B43065C5-402B-4DD0-A8EA-107082F4D2DF}" type="datetime'Gr''''ea''''t''''''''er ''C''''''''''''h''''ina'''''''">
              <a:rPr lang="en-US" altLang="en-US" smtClean="0">
                <a:solidFill>
                  <a:schemeClr val="tx1"/>
                </a:solidFill>
              </a:rPr>
              <a:pPr>
                <a:spcBef>
                  <a:spcPct val="0"/>
                </a:spcBef>
                <a:spcAft>
                  <a:spcPct val="0"/>
                </a:spcAft>
              </a:pPr>
              <a:t>Greater China</a:t>
            </a:fld>
            <a:endParaRPr lang="en-US" dirty="0">
              <a:solidFill>
                <a:schemeClr val="tx1"/>
              </a:solidFill>
              <a:sym typeface="+mn-lt"/>
            </a:endParaRPr>
          </a:p>
        </p:txBody>
      </p:sp>
      <p:sp>
        <p:nvSpPr>
          <p:cNvPr id="101" name="Rounded Rectangular Callout 100"/>
          <p:cNvSpPr/>
          <p:nvPr/>
        </p:nvSpPr>
        <p:spPr>
          <a:xfrm>
            <a:off x="5570377" y="4938559"/>
            <a:ext cx="1706563" cy="512538"/>
          </a:xfrm>
          <a:prstGeom prst="wedgeRoundRectCallout">
            <a:avLst>
              <a:gd name="adj1" fmla="val -28939"/>
              <a:gd name="adj2" fmla="val 83030"/>
              <a:gd name="adj3" fmla="val 16667"/>
            </a:avLst>
          </a:prstGeom>
          <a:solidFill>
            <a:srgbClr val="F2F2F2"/>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400" dirty="0">
                <a:solidFill>
                  <a:srgbClr val="575757"/>
                </a:solidFill>
              </a:rPr>
              <a:t>Brote en China bajo control </a:t>
            </a:r>
          </a:p>
        </p:txBody>
      </p:sp>
      <p:sp>
        <p:nvSpPr>
          <p:cNvPr id="102" name="Rounded Rectangular Callout 101"/>
          <p:cNvSpPr/>
          <p:nvPr/>
        </p:nvSpPr>
        <p:spPr>
          <a:xfrm>
            <a:off x="7178675" y="4116658"/>
            <a:ext cx="1698625" cy="615950"/>
          </a:xfrm>
          <a:prstGeom prst="wedgeRoundRectCallout">
            <a:avLst>
              <a:gd name="adj1" fmla="val 47689"/>
              <a:gd name="adj2" fmla="val 97367"/>
              <a:gd name="adj3" fmla="val 16667"/>
            </a:avLst>
          </a:prstGeom>
          <a:solidFill>
            <a:srgbClr val="F2F2F2"/>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400" dirty="0">
                <a:solidFill>
                  <a:srgbClr val="575757"/>
                </a:solidFill>
              </a:rPr>
              <a:t>Europa es el nuevo foco </a:t>
            </a:r>
            <a:br>
              <a:rPr lang="es-CL" sz="1400" dirty="0">
                <a:solidFill>
                  <a:srgbClr val="575757"/>
                </a:solidFill>
              </a:rPr>
            </a:br>
            <a:r>
              <a:rPr lang="es-CL" sz="1400" dirty="0">
                <a:solidFill>
                  <a:srgbClr val="575757"/>
                </a:solidFill>
              </a:rPr>
              <a:t>de la pandemia</a:t>
            </a:r>
          </a:p>
        </p:txBody>
      </p:sp>
      <p:sp>
        <p:nvSpPr>
          <p:cNvPr id="103" name="Rounded Rectangular Callout 102"/>
          <p:cNvSpPr/>
          <p:nvPr/>
        </p:nvSpPr>
        <p:spPr>
          <a:xfrm>
            <a:off x="8208168" y="3239230"/>
            <a:ext cx="1436688" cy="617538"/>
          </a:xfrm>
          <a:prstGeom prst="wedgeRoundRectCallout">
            <a:avLst>
              <a:gd name="adj1" fmla="val 47689"/>
              <a:gd name="adj2" fmla="val 97367"/>
              <a:gd name="adj3" fmla="val 16667"/>
            </a:avLst>
          </a:prstGeom>
          <a:solidFill>
            <a:srgbClr val="F2F2F2"/>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L" sz="1400" dirty="0">
                <a:solidFill>
                  <a:srgbClr val="575757"/>
                </a:solidFill>
              </a:rPr>
              <a:t>Rápidamente expandiéndose a USA y </a:t>
            </a:r>
            <a:r>
              <a:rPr lang="es-CL" sz="1400" dirty="0" err="1">
                <a:solidFill>
                  <a:srgbClr val="575757"/>
                </a:solidFill>
              </a:rPr>
              <a:t>RoW</a:t>
            </a:r>
            <a:endParaRPr lang="es-CL" sz="1400" dirty="0">
              <a:solidFill>
                <a:srgbClr val="575757"/>
              </a:solidFill>
            </a:endParaRPr>
          </a:p>
        </p:txBody>
      </p:sp>
      <p:sp>
        <p:nvSpPr>
          <p:cNvPr id="104" name="ee4pFootnotes"/>
          <p:cNvSpPr>
            <a:spLocks noChangeArrowheads="1"/>
          </p:cNvSpPr>
          <p:nvPr/>
        </p:nvSpPr>
        <p:spPr bwMode="auto">
          <a:xfrm>
            <a:off x="5258825" y="6459914"/>
            <a:ext cx="51181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latin typeface="Trebuchet MS" panose="020B0603020202020204" pitchFamily="34" charset="0"/>
              </a:rPr>
              <a:t>Fuente: National Health Commission China (China-specific data), </a:t>
            </a:r>
            <a:r>
              <a:rPr lang="en-US" sz="1000" dirty="0">
                <a:solidFill>
                  <a:srgbClr val="7F7F7F"/>
                </a:solidFill>
                <a:latin typeface="Trebuchet MS" panose="020B0603020202020204" pitchFamily="34" charset="0"/>
                <a:cs typeface="Arial" pitchFamily="34" charset="0"/>
              </a:rPr>
              <a:t>Johns Hopkins </a:t>
            </a:r>
            <a:r>
              <a:rPr lang="en-US" sz="1000" dirty="0" err="1">
                <a:solidFill>
                  <a:srgbClr val="7F7F7F"/>
                </a:solidFill>
                <a:latin typeface="Trebuchet MS" panose="020B0603020202020204" pitchFamily="34" charset="0"/>
                <a:cs typeface="Arial" pitchFamily="34" charset="0"/>
              </a:rPr>
              <a:t>CSSE</a:t>
            </a:r>
            <a:r>
              <a:rPr lang="en-US" sz="1000" dirty="0">
                <a:solidFill>
                  <a:srgbClr val="7F7F7F"/>
                </a:solidFill>
                <a:latin typeface="Trebuchet MS" panose="020B0603020202020204" pitchFamily="34" charset="0"/>
                <a:cs typeface="Arial" pitchFamily="34" charset="0"/>
              </a:rPr>
              <a:t>(Non-China Data), </a:t>
            </a:r>
            <a:r>
              <a:rPr lang="en-US" sz="1000" dirty="0">
                <a:solidFill>
                  <a:srgbClr val="7F7F7F"/>
                </a:solidFill>
                <a:latin typeface="Trebuchet MS" panose="020B0603020202020204" pitchFamily="34" charset="0"/>
              </a:rPr>
              <a:t>BCG Henderson Institute analysis </a:t>
            </a:r>
            <a:endParaRPr lang="en-US" sz="1000" dirty="0">
              <a:solidFill>
                <a:srgbClr val="7F7F7F"/>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1945283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c="http://schemas.openxmlformats.org/drawingml/2006/chart" xmlns:a14="http://schemas.microsoft.com/office/drawing/2010/main" xmlns:v="urn:schemas-microsoft-com:vml"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a:spLocks noGrp="1"/>
          </p:cNvSpPr>
          <p:nvPr>
            <p:custDataLst>
              <p:tags r:id="rId3"/>
            </p:custDataLst>
          </p:nvPr>
        </p:nvSpPr>
        <p:spPr bwMode="gray">
          <a:xfrm>
            <a:off x="5545138" y="5851525"/>
            <a:ext cx="6175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CC5AA33-CDF9-48BB-8FAA-0B444502108F}" type="datetime'''''''2''''''''4-''''''''''''''''''''''Ma''''''r'''''''''''">
              <a:rPr lang="en-US" altLang="en-US" sz="1600" smtClean="0">
                <a:sym typeface="+mn-lt"/>
              </a:rPr>
              <a:pPr algn="ctr">
                <a:spcBef>
                  <a:spcPct val="0"/>
                </a:spcBef>
                <a:spcAft>
                  <a:spcPct val="0"/>
                </a:spcAft>
              </a:pPr>
              <a:t>24-Mar</a:t>
            </a:fld>
            <a:endParaRPr lang="en-US" sz="1600" dirty="0">
              <a:sym typeface="+mn-lt"/>
            </a:endParaRPr>
          </a:p>
        </p:txBody>
      </p:sp>
      <p:sp>
        <p:nvSpPr>
          <p:cNvPr id="37" name="Text Placeholder 3"/>
          <p:cNvSpPr>
            <a:spLocks noGrp="1"/>
          </p:cNvSpPr>
          <p:nvPr>
            <p:custDataLst>
              <p:tags r:id="rId4"/>
            </p:custDataLst>
          </p:nvPr>
        </p:nvSpPr>
        <p:spPr bwMode="gray">
          <a:xfrm>
            <a:off x="665163" y="5851525"/>
            <a:ext cx="6175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15D9230-FBDE-4A66-8E04-FCD8EFE89D29}" type="datetime'''''2''''''''''''''''''''''9''''-''''F''''e''''b'''''''''''">
              <a:rPr lang="en-US" altLang="en-US" sz="1600" smtClean="0">
                <a:sym typeface="+mn-lt"/>
              </a:rPr>
              <a:pPr algn="ctr">
                <a:spcBef>
                  <a:spcPct val="0"/>
                </a:spcBef>
                <a:spcAft>
                  <a:spcPct val="0"/>
                </a:spcAft>
              </a:pPr>
              <a:t>29-Feb</a:t>
            </a:fld>
            <a:endParaRPr lang="en-US" sz="1600" dirty="0">
              <a:sym typeface="+mn-lt"/>
            </a:endParaRPr>
          </a:p>
        </p:txBody>
      </p:sp>
      <p:sp>
        <p:nvSpPr>
          <p:cNvPr id="40" name="Text Placeholder 3"/>
          <p:cNvSpPr>
            <a:spLocks noGrp="1"/>
          </p:cNvSpPr>
          <p:nvPr>
            <p:custDataLst>
              <p:tags r:id="rId5"/>
            </p:custDataLst>
          </p:nvPr>
        </p:nvSpPr>
        <p:spPr bwMode="gray">
          <a:xfrm>
            <a:off x="4325938" y="5851525"/>
            <a:ext cx="6175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0615522-EC40-4DE1-9465-5CEC7E949E86}" type="datetime'''''''''''''1''''''''''''''''''''''8''''''''''''''-''''Mar'''">
              <a:rPr lang="en-US" altLang="en-US" sz="1600" smtClean="0">
                <a:sym typeface="+mn-lt"/>
              </a:rPr>
              <a:pPr algn="ctr">
                <a:spcBef>
                  <a:spcPct val="0"/>
                </a:spcBef>
                <a:spcAft>
                  <a:spcPct val="0"/>
                </a:spcAft>
              </a:pPr>
              <a:t>18-Mar</a:t>
            </a:fld>
            <a:endParaRPr lang="en-US" sz="1600" dirty="0">
              <a:sym typeface="+mn-lt"/>
            </a:endParaRPr>
          </a:p>
        </p:txBody>
      </p:sp>
      <p:sp>
        <p:nvSpPr>
          <p:cNvPr id="38" name="Text Placeholder 3"/>
          <p:cNvSpPr>
            <a:spLocks noGrp="1"/>
          </p:cNvSpPr>
          <p:nvPr>
            <p:custDataLst>
              <p:tags r:id="rId6"/>
            </p:custDataLst>
          </p:nvPr>
        </p:nvSpPr>
        <p:spPr bwMode="gray">
          <a:xfrm>
            <a:off x="1938339" y="5851525"/>
            <a:ext cx="5111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C54B0D-B399-4847-8A8F-2544A290CC15}" type="datetime'''6-''''M''''''''''''''''''''''''''''a''r'''''">
              <a:rPr lang="en-US" altLang="en-US" sz="1600" smtClean="0">
                <a:sym typeface="+mn-lt"/>
              </a:rPr>
              <a:pPr algn="ctr">
                <a:spcBef>
                  <a:spcPct val="0"/>
                </a:spcBef>
                <a:spcAft>
                  <a:spcPct val="0"/>
                </a:spcAft>
              </a:pPr>
              <a:t>6-Mar</a:t>
            </a:fld>
            <a:endParaRPr lang="en-US" sz="1600" dirty="0">
              <a:sym typeface="+mn-lt"/>
            </a:endParaRPr>
          </a:p>
        </p:txBody>
      </p:sp>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2246797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4" name="think-cell Slide" r:id="rId19" imgW="395" imgH="394" progId="TCLayout.ActiveDocument.1">
                  <p:embed/>
                </p:oleObj>
              </mc:Choice>
              <mc:Fallback>
                <p:oleObj name="think-cell Slide" r:id="rId19" imgW="395" imgH="394"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8"/>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sym typeface="+mn-lt"/>
            </a:endParaRPr>
          </a:p>
        </p:txBody>
      </p:sp>
      <p:sp>
        <p:nvSpPr>
          <p:cNvPr id="2" name="Title 1"/>
          <p:cNvSpPr>
            <a:spLocks noGrp="1"/>
          </p:cNvSpPr>
          <p:nvPr>
            <p:ph type="title"/>
          </p:nvPr>
        </p:nvSpPr>
        <p:spPr>
          <a:xfrm>
            <a:off x="630000" y="622800"/>
            <a:ext cx="10933200" cy="941796"/>
          </a:xfrm>
        </p:spPr>
        <p:txBody>
          <a:bodyPr/>
          <a:lstStyle/>
          <a:p>
            <a:r>
              <a:rPr lang="es-CL" dirty="0"/>
              <a:t>En Chile se ha propagado rápidamente y estamos comenzando a sentir los efectos </a:t>
            </a:r>
          </a:p>
        </p:txBody>
      </p:sp>
      <p:graphicFrame>
        <p:nvGraphicFramePr>
          <p:cNvPr id="51" name="Chart 50"/>
          <p:cNvGraphicFramePr/>
          <p:nvPr>
            <p:custDataLst>
              <p:tags r:id="rId9"/>
            </p:custDataLst>
            <p:extLst>
              <p:ext uri="{D42A27DB-BD31-4B8C-83A1-F6EECF244321}">
                <p14:modId xmlns:p14="http://schemas.microsoft.com/office/powerpoint/2010/main" val="3517141598"/>
              </p:ext>
            </p:extLst>
          </p:nvPr>
        </p:nvGraphicFramePr>
        <p:xfrm>
          <a:off x="357188" y="3233738"/>
          <a:ext cx="6111875" cy="2643187"/>
        </p:xfrm>
        <a:graphic>
          <a:graphicData uri="http://schemas.openxmlformats.org/drawingml/2006/chart">
            <c:chart xmlns:c="http://schemas.openxmlformats.org/drawingml/2006/chart" xmlns:r="http://schemas.openxmlformats.org/officeDocument/2006/relationships" r:id="rId21"/>
          </a:graphicData>
        </a:graphic>
      </p:graphicFrame>
      <p:sp>
        <p:nvSpPr>
          <p:cNvPr id="39" name="Text Placeholder 3"/>
          <p:cNvSpPr>
            <a:spLocks noGrp="1"/>
          </p:cNvSpPr>
          <p:nvPr>
            <p:custDataLst>
              <p:tags r:id="rId10"/>
            </p:custDataLst>
          </p:nvPr>
        </p:nvSpPr>
        <p:spPr bwMode="gray">
          <a:xfrm>
            <a:off x="3211513" y="5851525"/>
            <a:ext cx="61753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039BD55-6FC8-44C8-8CA0-E75C75A5528A}" type="datetime'''''''''1''''''''''''''''''''''''2''-''M''''a''r'''''''''''">
              <a:rPr lang="en-US" altLang="en-US" sz="1600" smtClean="0">
                <a:sym typeface="+mn-lt"/>
              </a:rPr>
              <a:pPr algn="ctr">
                <a:spcBef>
                  <a:spcPct val="0"/>
                </a:spcBef>
                <a:spcAft>
                  <a:spcPct val="0"/>
                </a:spcAft>
              </a:pPr>
              <a:t>12-Mar</a:t>
            </a:fld>
            <a:endParaRPr lang="en-US" sz="1600" dirty="0">
              <a:sym typeface="+mn-lt"/>
            </a:endParaRPr>
          </a:p>
        </p:txBody>
      </p:sp>
      <p:sp>
        <p:nvSpPr>
          <p:cNvPr id="9" name="Text Placeholder 3"/>
          <p:cNvSpPr>
            <a:spLocks noGrp="1"/>
          </p:cNvSpPr>
          <p:nvPr>
            <p:custDataLst>
              <p:tags r:id="rId11"/>
            </p:custDataLst>
          </p:nvPr>
        </p:nvSpPr>
        <p:spPr bwMode="gray">
          <a:xfrm>
            <a:off x="449263" y="2841625"/>
            <a:ext cx="15541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s-CL" altLang="en-US" sz="1400" dirty="0">
                <a:sym typeface="+mn-lt"/>
              </a:rPr>
              <a:t># casos acumulados</a:t>
            </a:r>
            <a:endParaRPr lang="es-CL" sz="1400" dirty="0">
              <a:sym typeface="+mn-lt"/>
            </a:endParaRPr>
          </a:p>
        </p:txBody>
      </p:sp>
      <p:sp>
        <p:nvSpPr>
          <p:cNvPr id="10" name="Text Placeholder 3"/>
          <p:cNvSpPr>
            <a:spLocks noGrp="1"/>
          </p:cNvSpPr>
          <p:nvPr>
            <p:custDataLst>
              <p:tags r:id="rId12"/>
            </p:custDataLst>
          </p:nvPr>
        </p:nvSpPr>
        <p:spPr bwMode="gray">
          <a:xfrm>
            <a:off x="5211763" y="2841625"/>
            <a:ext cx="11652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s-CL" altLang="en-US" sz="1400" dirty="0">
                <a:sym typeface="+mn-lt"/>
              </a:rPr>
              <a:t># nuevos casos</a:t>
            </a:r>
            <a:endParaRPr lang="es-CL" sz="1400" dirty="0">
              <a:sym typeface="+mn-lt"/>
            </a:endParaRPr>
          </a:p>
        </p:txBody>
      </p:sp>
      <p:cxnSp>
        <p:nvCxnSpPr>
          <p:cNvPr id="12" name="Straight Connector 11"/>
          <p:cNvCxnSpPr/>
          <p:nvPr>
            <p:custDataLst>
              <p:tags r:id="rId13"/>
            </p:custDataLst>
          </p:nvPr>
        </p:nvCxnSpPr>
        <p:spPr bwMode="gray">
          <a:xfrm>
            <a:off x="1444625" y="4138613"/>
            <a:ext cx="142875" cy="0"/>
          </a:xfrm>
          <a:prstGeom prst="line">
            <a:avLst/>
          </a:prstGeom>
          <a:ln w="2857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4"/>
            </p:custDataLst>
          </p:nvPr>
        </p:nvCxnSpPr>
        <p:spPr bwMode="gray">
          <a:xfrm>
            <a:off x="1444625" y="3886200"/>
            <a:ext cx="142875" cy="0"/>
          </a:xfrm>
          <a:prstGeom prst="line">
            <a:avLst/>
          </a:prstGeom>
          <a:ln w="2857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custDataLst>
              <p:tags r:id="rId15"/>
            </p:custDataLst>
          </p:nvPr>
        </p:nvSpPr>
        <p:spPr bwMode="gray">
          <a:xfrm>
            <a:off x="1674813" y="3802063"/>
            <a:ext cx="12223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80F2557-6599-4E80-B8EB-A0A780D52B0C}" type="datetime'Ca''so''s ''ac''''u''m''''ula''''''''d''''''''o''''''''s'">
              <a:rPr lang="es-CL" altLang="en-US" smtClean="0"/>
              <a:pPr>
                <a:spcBef>
                  <a:spcPct val="0"/>
                </a:spcBef>
                <a:spcAft>
                  <a:spcPct val="0"/>
                </a:spcAft>
              </a:pPr>
              <a:t>Casos acumulados</a:t>
            </a:fld>
            <a:endParaRPr lang="es-CL" dirty="0">
              <a:sym typeface="+mn-lt"/>
            </a:endParaRPr>
          </a:p>
        </p:txBody>
      </p:sp>
      <p:sp>
        <p:nvSpPr>
          <p:cNvPr id="14" name="Text Placeholder 3"/>
          <p:cNvSpPr>
            <a:spLocks noGrp="1"/>
          </p:cNvSpPr>
          <p:nvPr>
            <p:custDataLst>
              <p:tags r:id="rId16"/>
            </p:custDataLst>
          </p:nvPr>
        </p:nvSpPr>
        <p:spPr bwMode="gray">
          <a:xfrm>
            <a:off x="1674813" y="4054475"/>
            <a:ext cx="88900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14E950F-8406-497E-AD16-981799BFE6B7}" type="datetime'N''u''e''''''''''v''''os ''''c''''''''''''a''s''''o''''s'">
              <a:rPr lang="es-CL" altLang="en-US" smtClean="0"/>
              <a:pPr>
                <a:spcBef>
                  <a:spcPct val="0"/>
                </a:spcBef>
                <a:spcAft>
                  <a:spcPct val="0"/>
                </a:spcAft>
              </a:pPr>
              <a:t>Nuevos casos</a:t>
            </a:fld>
            <a:endParaRPr lang="es-CL" dirty="0">
              <a:sym typeface="+mn-lt"/>
            </a:endParaRPr>
          </a:p>
        </p:txBody>
      </p:sp>
      <p:sp>
        <p:nvSpPr>
          <p:cNvPr id="24" name="ee4pHeader1"/>
          <p:cNvSpPr txBox="1"/>
          <p:nvPr/>
        </p:nvSpPr>
        <p:spPr>
          <a:xfrm>
            <a:off x="629399" y="1672893"/>
            <a:ext cx="5386389" cy="759600"/>
          </a:xfrm>
          <a:prstGeom prst="rect">
            <a:avLst/>
          </a:prstGeom>
          <a:noFill/>
          <a:ln cap="rnd">
            <a:noFill/>
          </a:ln>
        </p:spPr>
        <p:txBody>
          <a:bodyPr wrap="square" lIns="0" tIns="0" rIns="0" bIns="0" rtlCol="0" anchor="b">
            <a:noAutofit/>
          </a:bodyPr>
          <a:lstStyle/>
          <a:p>
            <a:pPr marL="0" lvl="3"/>
            <a:r>
              <a:rPr lang="es-CL" sz="2000" dirty="0">
                <a:solidFill>
                  <a:schemeClr val="tx2"/>
                </a:solidFill>
              </a:rPr>
              <a:t># de casos de COVID-19 en Chile está aumentando rápidamente</a:t>
            </a:r>
          </a:p>
        </p:txBody>
      </p:sp>
      <p:sp>
        <p:nvSpPr>
          <p:cNvPr id="25" name="ee4pHeader2"/>
          <p:cNvSpPr txBox="1"/>
          <p:nvPr/>
        </p:nvSpPr>
        <p:spPr>
          <a:xfrm>
            <a:off x="6939814" y="1672893"/>
            <a:ext cx="4623385" cy="759600"/>
          </a:xfrm>
          <a:prstGeom prst="rect">
            <a:avLst/>
          </a:prstGeom>
          <a:noFill/>
          <a:ln cap="rnd">
            <a:noFill/>
          </a:ln>
        </p:spPr>
        <p:txBody>
          <a:bodyPr wrap="square" lIns="0" tIns="0" rIns="0" bIns="0" rtlCol="0" anchor="b">
            <a:noAutofit/>
          </a:bodyPr>
          <a:lstStyle/>
          <a:p>
            <a:pPr marL="0" lvl="3"/>
            <a:r>
              <a:rPr lang="es-CL" sz="2000" dirty="0">
                <a:solidFill>
                  <a:schemeClr val="tx2"/>
                </a:solidFill>
              </a:rPr>
              <a:t>Impacto en economía se está comenzando a sentir con más fuerza</a:t>
            </a:r>
          </a:p>
        </p:txBody>
      </p:sp>
      <p:pic>
        <p:nvPicPr>
          <p:cNvPr id="27" name="Picture 26"/>
          <p:cNvPicPr>
            <a:picLocks noChangeAspect="1"/>
          </p:cNvPicPr>
          <p:nvPr/>
        </p:nvPicPr>
        <p:blipFill>
          <a:blip r:embed="rId22"/>
          <a:stretch>
            <a:fillRect/>
          </a:stretch>
        </p:blipFill>
        <p:spPr>
          <a:xfrm>
            <a:off x="7038938" y="2867487"/>
            <a:ext cx="4425138" cy="1723063"/>
          </a:xfrm>
          <a:prstGeom prst="rect">
            <a:avLst/>
          </a:prstGeom>
        </p:spPr>
      </p:pic>
      <p:pic>
        <p:nvPicPr>
          <p:cNvPr id="28" name="Picture 27"/>
          <p:cNvPicPr>
            <a:picLocks noChangeAspect="1"/>
          </p:cNvPicPr>
          <p:nvPr/>
        </p:nvPicPr>
        <p:blipFill>
          <a:blip r:embed="rId23"/>
          <a:stretch>
            <a:fillRect/>
          </a:stretch>
        </p:blipFill>
        <p:spPr>
          <a:xfrm>
            <a:off x="7038938" y="4838566"/>
            <a:ext cx="4425138" cy="1419226"/>
          </a:xfrm>
          <a:prstGeom prst="rect">
            <a:avLst/>
          </a:prstGeom>
        </p:spPr>
      </p:pic>
      <p:sp>
        <p:nvSpPr>
          <p:cNvPr id="30"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Fuente: OMS / </a:t>
            </a:r>
            <a:r>
              <a:rPr lang="en-US" sz="1000" dirty="0" err="1">
                <a:solidFill>
                  <a:schemeClr val="bg1">
                    <a:lumMod val="50000"/>
                  </a:schemeClr>
                </a:solidFill>
                <a:latin typeface="Trebuchet MS" panose="020B0603020202020204" pitchFamily="34" charset="0"/>
                <a:cs typeface="Arial" pitchFamily="34" charset="0"/>
              </a:rPr>
              <a:t>Minsal</a:t>
            </a:r>
            <a:endParaRPr lang="en-US" sz="1000" dirty="0">
              <a:solidFill>
                <a:schemeClr val="bg1">
                  <a:lumMod val="50000"/>
                </a:schemeClr>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1943312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76924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55"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375386" y="2681103"/>
            <a:ext cx="3382496" cy="1495794"/>
          </a:xfrm>
        </p:spPr>
        <p:txBody>
          <a:bodyPr/>
          <a:lstStyle/>
          <a:p>
            <a:r>
              <a:rPr lang="es-CL" dirty="0">
                <a:solidFill>
                  <a:srgbClr val="D4DF33"/>
                </a:solidFill>
              </a:rPr>
              <a:t>Inicio de la crisis:</a:t>
            </a:r>
            <a:r>
              <a:rPr lang="es-CL" dirty="0"/>
              <a:t/>
            </a:r>
            <a:br>
              <a:rPr lang="es-CL" dirty="0"/>
            </a:br>
            <a:r>
              <a:rPr lang="es-CL" dirty="0"/>
              <a:t>¿Cuál debe ser nuestro foco? </a:t>
            </a:r>
          </a:p>
        </p:txBody>
      </p:sp>
      <p:sp>
        <p:nvSpPr>
          <p:cNvPr id="29" name="Google Shape;602;p88">
            <a:hlinkClick r:id="rId9" action="ppaction://hlinksldjump"/>
          </p:cNvPr>
          <p:cNvSpPr/>
          <p:nvPr/>
        </p:nvSpPr>
        <p:spPr>
          <a:xfrm>
            <a:off x="4420773" y="2718106"/>
            <a:ext cx="7457200" cy="3355727"/>
          </a:xfrm>
          <a:prstGeom prst="roundRect">
            <a:avLst>
              <a:gd name="adj" fmla="val 4680"/>
            </a:avLst>
          </a:prstGeom>
          <a:solidFill>
            <a:srgbClr val="30C1D7"/>
          </a:solidFill>
          <a:ln>
            <a:noFill/>
          </a:ln>
        </p:spPr>
        <p:txBody>
          <a:bodyPr spcFirstLastPara="1" wrap="square" lIns="121900" tIns="137160" rIns="121900" bIns="121900" anchor="t" anchorCtr="0">
            <a:noAutofit/>
          </a:bodyPr>
          <a:lstStyle/>
          <a:p>
            <a:pPr>
              <a:buSzPct val="100000"/>
            </a:pPr>
            <a:r>
              <a:rPr lang="en" sz="2000" dirty="0">
                <a:solidFill>
                  <a:srgbClr val="FFFFFF"/>
                </a:solidFill>
                <a:latin typeface="Trebuchet MS" panose="020B0603020202020204" pitchFamily="34" charset="0"/>
                <a:ea typeface="Trebuchet MS"/>
                <a:cs typeface="Trebuchet MS"/>
                <a:sym typeface="Trebuchet MS"/>
              </a:rPr>
              <a:t>Claridad en</a:t>
            </a:r>
            <a:br>
              <a:rPr lang="en" sz="2000" dirty="0">
                <a:solidFill>
                  <a:srgbClr val="FFFFFF"/>
                </a:solidFill>
                <a:latin typeface="Trebuchet MS" panose="020B0603020202020204" pitchFamily="34" charset="0"/>
                <a:ea typeface="Trebuchet MS"/>
                <a:cs typeface="Trebuchet MS"/>
                <a:sym typeface="Trebuchet MS"/>
              </a:rPr>
            </a:br>
            <a:r>
              <a:rPr lang="en" sz="2000" dirty="0">
                <a:solidFill>
                  <a:srgbClr val="FFFFFF"/>
                </a:solidFill>
                <a:latin typeface="Trebuchet MS" panose="020B0603020202020204" pitchFamily="34" charset="0"/>
                <a:ea typeface="Trebuchet MS"/>
                <a:cs typeface="Trebuchet MS"/>
                <a:sym typeface="Trebuchet MS"/>
              </a:rPr>
              <a:t>la ejecución</a:t>
            </a:r>
          </a:p>
          <a:p>
            <a:pPr>
              <a:buSzPct val="100000"/>
            </a:pPr>
            <a:endParaRPr lang="en" sz="2000" dirty="0">
              <a:solidFill>
                <a:srgbClr val="FFFFFF"/>
              </a:solidFill>
              <a:latin typeface="Trebuchet MS" panose="020B0603020202020204" pitchFamily="34" charset="0"/>
              <a:ea typeface="Trebuchet MS"/>
              <a:cs typeface="Trebuchet MS"/>
              <a:sym typeface="Trebuchet MS"/>
            </a:endParaRPr>
          </a:p>
          <a:p>
            <a:pPr>
              <a:buSzPct val="100000"/>
            </a:pPr>
            <a:endParaRPr sz="2000" dirty="0">
              <a:solidFill>
                <a:srgbClr val="FFFFFF"/>
              </a:solidFill>
              <a:latin typeface="Trebuchet MS"/>
              <a:ea typeface="Trebuchet MS"/>
              <a:cs typeface="Trebuchet MS"/>
              <a:sym typeface="Trebuchet MS"/>
            </a:endParaRPr>
          </a:p>
        </p:txBody>
      </p:sp>
      <p:sp>
        <p:nvSpPr>
          <p:cNvPr id="30" name="Google Shape;603;p88">
            <a:hlinkClick r:id="" action="ppaction://noaction"/>
          </p:cNvPr>
          <p:cNvSpPr/>
          <p:nvPr/>
        </p:nvSpPr>
        <p:spPr>
          <a:xfrm>
            <a:off x="6351099" y="1352353"/>
            <a:ext cx="1694998" cy="5019569"/>
          </a:xfrm>
          <a:prstGeom prst="roundRect">
            <a:avLst>
              <a:gd name="adj" fmla="val 5264"/>
            </a:avLst>
          </a:prstGeom>
          <a:solidFill>
            <a:srgbClr val="29BA74">
              <a:alpha val="54189"/>
            </a:srgbClr>
          </a:solidFill>
          <a:ln>
            <a:noFill/>
          </a:ln>
        </p:spPr>
        <p:txBody>
          <a:bodyPr spcFirstLastPara="1" wrap="square" lIns="45720" tIns="121900" rIns="45720" bIns="121900" anchor="t" anchorCtr="0">
            <a:noAutofit/>
          </a:bodyPr>
          <a:lstStyle/>
          <a:p>
            <a:pPr algn="ctr">
              <a:buSzPct val="100000"/>
              <a:buFont typeface="Trebuchet MS" panose="020B0603020202020204" pitchFamily="34" charset="0"/>
              <a:buChar char="​"/>
            </a:pPr>
            <a:r>
              <a:rPr lang="en" sz="2000" dirty="0">
                <a:solidFill>
                  <a:srgbClr val="FFFFFF"/>
                </a:solidFill>
                <a:latin typeface="Trebuchet MS" panose="020B0603020202020204" pitchFamily="34" charset="0"/>
                <a:ea typeface="Trebuchet MS"/>
                <a:cs typeface="Trebuchet MS"/>
                <a:sym typeface="Trebuchet MS"/>
              </a:rPr>
              <a:t>Salud y seguridad </a:t>
            </a:r>
            <a:br>
              <a:rPr lang="en" sz="2000" dirty="0">
                <a:solidFill>
                  <a:srgbClr val="FFFFFF"/>
                </a:solidFill>
                <a:latin typeface="Trebuchet MS" panose="020B0603020202020204" pitchFamily="34" charset="0"/>
                <a:ea typeface="Trebuchet MS"/>
                <a:cs typeface="Trebuchet MS"/>
                <a:sym typeface="Trebuchet MS"/>
              </a:rPr>
            </a:br>
            <a:r>
              <a:rPr lang="en" sz="2000" dirty="0">
                <a:solidFill>
                  <a:srgbClr val="FFFFFF"/>
                </a:solidFill>
                <a:latin typeface="Trebuchet MS" panose="020B0603020202020204" pitchFamily="34" charset="0"/>
                <a:ea typeface="Trebuchet MS"/>
                <a:cs typeface="Trebuchet MS"/>
                <a:sym typeface="Trebuchet MS"/>
              </a:rPr>
              <a:t>del equipo</a:t>
            </a:r>
          </a:p>
          <a:p>
            <a:pPr>
              <a:buSzPct val="100000"/>
              <a:buFont typeface="Trebuchet MS" panose="020B0603020202020204" pitchFamily="34" charset="0"/>
              <a:buChar char="​"/>
            </a:pPr>
            <a:endParaRPr lang="en" sz="2000" dirty="0">
              <a:solidFill>
                <a:schemeClr val="tx1">
                  <a:lumMod val="100000"/>
                </a:schemeClr>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Reducir el riesgo de transmisión</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Apoyar a quienes están/ pueden estar infectados</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Reducir el estrés y mejorar la moral</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Garantizar el cumplimiento de los requisitos regulatorios</a:t>
            </a:r>
            <a:endParaRPr lang="es-CL" sz="2000" dirty="0">
              <a:solidFill>
                <a:srgbClr val="FFFFFF"/>
              </a:solidFill>
              <a:latin typeface="Trebuchet MS" panose="020B0603020202020204" pitchFamily="34" charset="0"/>
              <a:ea typeface="Trebuchet MS"/>
              <a:cs typeface="Trebuchet MS"/>
              <a:sym typeface="Trebuchet MS"/>
            </a:endParaRPr>
          </a:p>
        </p:txBody>
      </p:sp>
      <p:sp>
        <p:nvSpPr>
          <p:cNvPr id="31" name="Google Shape;604;p88">
            <a:hlinkClick r:id="" action="ppaction://noaction"/>
          </p:cNvPr>
          <p:cNvSpPr/>
          <p:nvPr/>
        </p:nvSpPr>
        <p:spPr>
          <a:xfrm>
            <a:off x="8193083" y="1352353"/>
            <a:ext cx="1694998" cy="5019569"/>
          </a:xfrm>
          <a:prstGeom prst="roundRect">
            <a:avLst>
              <a:gd name="adj" fmla="val 5623"/>
            </a:avLst>
          </a:prstGeom>
          <a:solidFill>
            <a:srgbClr val="197A56">
              <a:alpha val="68720"/>
            </a:srgbClr>
          </a:solidFill>
          <a:ln>
            <a:noFill/>
          </a:ln>
        </p:spPr>
        <p:txBody>
          <a:bodyPr spcFirstLastPara="1" wrap="square" lIns="45720" tIns="121900" rIns="45720" bIns="121900" anchor="t" anchorCtr="0">
            <a:noAutofit/>
          </a:bodyPr>
          <a:lstStyle/>
          <a:p>
            <a:pPr algn="ctr">
              <a:buSzPct val="100000"/>
              <a:buFont typeface="Trebuchet MS" panose="020B0603020202020204" pitchFamily="34" charset="0"/>
              <a:buChar char="​"/>
            </a:pPr>
            <a:r>
              <a:rPr lang="en" sz="2000" dirty="0">
                <a:solidFill>
                  <a:srgbClr val="FFFFFF"/>
                </a:solidFill>
                <a:latin typeface="Trebuchet MS" panose="020B0603020202020204" pitchFamily="34" charset="0"/>
                <a:ea typeface="Trebuchet MS"/>
                <a:cs typeface="Trebuchet MS"/>
                <a:sym typeface="Trebuchet MS"/>
              </a:rPr>
              <a:t>Solidez de la organización</a:t>
            </a:r>
          </a:p>
          <a:p>
            <a:pPr algn="ctr">
              <a:buSzPct val="100000"/>
              <a:buFont typeface="Trebuchet MS" panose="020B0603020202020204" pitchFamily="34" charset="0"/>
              <a:buChar char="​"/>
            </a:pPr>
            <a:endParaRPr lang="en" sz="2000" dirty="0">
              <a:solidFill>
                <a:srgbClr val="FFFFFF"/>
              </a:solidFill>
              <a:latin typeface="Trebuchet MS" panose="020B0603020202020204" pitchFamily="34" charset="0"/>
              <a:ea typeface="Trebuchet MS"/>
              <a:cs typeface="Trebuchet MS"/>
              <a:sym typeface="Trebuchet MS"/>
            </a:endParaRPr>
          </a:p>
          <a:p>
            <a:pPr algn="ctr">
              <a:buSzPct val="100000"/>
              <a:buFont typeface="Trebuchet MS" panose="020B0603020202020204" pitchFamily="34" charset="0"/>
              <a:buChar char="​"/>
            </a:pPr>
            <a:endParaRPr lang="en" sz="20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Preservar las ventas y generar confianza con los clientes</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Reforzar la capacidad de </a:t>
            </a:r>
            <a:r>
              <a:rPr lang="es-CL" sz="1200" dirty="0" err="1">
                <a:solidFill>
                  <a:srgbClr val="FFFFFF"/>
                </a:solidFill>
                <a:latin typeface="Trebuchet MS" panose="020B0603020202020204" pitchFamily="34" charset="0"/>
                <a:ea typeface="Trebuchet MS"/>
                <a:cs typeface="Trebuchet MS"/>
                <a:sym typeface="Trebuchet MS"/>
              </a:rPr>
              <a:t>sumisitro</a:t>
            </a: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Adaptar los recursos a las necesidades de la empresa</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Monitorear y responder a cambios de la competitiva y de mercado</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Prepararse para distintos escenarios de recuperación</a:t>
            </a:r>
            <a:endParaRPr lang="es-CL" sz="2000" dirty="0">
              <a:solidFill>
                <a:srgbClr val="FFFFFF"/>
              </a:solidFill>
              <a:latin typeface="Trebuchet MS" panose="020B0603020202020204" pitchFamily="34" charset="0"/>
              <a:ea typeface="Trebuchet MS"/>
              <a:cs typeface="Trebuchet MS"/>
              <a:sym typeface="Trebuchet MS"/>
            </a:endParaRPr>
          </a:p>
        </p:txBody>
      </p:sp>
      <p:sp>
        <p:nvSpPr>
          <p:cNvPr id="32" name="Google Shape;608;p88"/>
          <p:cNvSpPr txBox="1"/>
          <p:nvPr/>
        </p:nvSpPr>
        <p:spPr>
          <a:xfrm>
            <a:off x="4611673" y="3681232"/>
            <a:ext cx="1544000" cy="686400"/>
          </a:xfrm>
          <a:prstGeom prst="rect">
            <a:avLst/>
          </a:prstGeom>
          <a:noFill/>
          <a:ln>
            <a:noFill/>
          </a:ln>
        </p:spPr>
        <p:txBody>
          <a:bodyPr spcFirstLastPara="1" wrap="square" lIns="0" tIns="0" rIns="0" bIns="0" anchor="t" anchorCtr="0">
            <a:noAutofit/>
          </a:bodyPr>
          <a:lstStyle/>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Coordinar y escalar respuesta,  mantener adaptabilidad</a:t>
            </a: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Involucrar a toda la organización</a:t>
            </a: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Empoderar a las personas y equipos</a:t>
            </a: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endParaRPr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Liderar con propósito e integridad</a:t>
            </a:r>
            <a:endParaRPr sz="1200" dirty="0">
              <a:solidFill>
                <a:srgbClr val="FFFFFF"/>
              </a:solidFill>
              <a:latin typeface="Trebuchet MS" panose="020B0603020202020204" pitchFamily="34" charset="0"/>
              <a:ea typeface="Trebuchet MS"/>
              <a:cs typeface="Trebuchet MS"/>
              <a:sym typeface="Trebuchet MS"/>
            </a:endParaRPr>
          </a:p>
          <a:p>
            <a:endParaRPr sz="1200" dirty="0">
              <a:solidFill>
                <a:srgbClr val="FFFFFF"/>
              </a:solidFill>
              <a:latin typeface="Trebuchet MS"/>
              <a:ea typeface="Trebuchet MS"/>
              <a:cs typeface="Trebuchet MS"/>
              <a:sym typeface="Trebuchet MS"/>
            </a:endParaRPr>
          </a:p>
        </p:txBody>
      </p:sp>
      <p:sp>
        <p:nvSpPr>
          <p:cNvPr id="33" name="Google Shape;605;p88">
            <a:hlinkClick r:id="" action="ppaction://noaction"/>
          </p:cNvPr>
          <p:cNvSpPr/>
          <p:nvPr/>
        </p:nvSpPr>
        <p:spPr>
          <a:xfrm>
            <a:off x="10035067" y="1352353"/>
            <a:ext cx="1694998" cy="5019569"/>
          </a:xfrm>
          <a:prstGeom prst="roundRect">
            <a:avLst>
              <a:gd name="adj" fmla="val 6406"/>
            </a:avLst>
          </a:prstGeom>
          <a:solidFill>
            <a:srgbClr val="3EAD92">
              <a:alpha val="69270"/>
            </a:srgbClr>
          </a:solidFill>
          <a:ln>
            <a:noFill/>
          </a:ln>
        </p:spPr>
        <p:txBody>
          <a:bodyPr spcFirstLastPara="1" wrap="square" lIns="45720" tIns="121900" rIns="45720" bIns="121900" anchor="t" anchorCtr="0">
            <a:noAutofit/>
          </a:bodyPr>
          <a:lstStyle/>
          <a:p>
            <a:pPr algn="ctr">
              <a:buSzPct val="100000"/>
              <a:buFont typeface="Trebuchet MS" panose="020B0603020202020204" pitchFamily="34" charset="0"/>
              <a:buChar char="​"/>
            </a:pPr>
            <a:r>
              <a:rPr lang="en" sz="2000" dirty="0">
                <a:solidFill>
                  <a:srgbClr val="FFFFFF"/>
                </a:solidFill>
                <a:latin typeface="Trebuchet MS" panose="020B0603020202020204" pitchFamily="34" charset="0"/>
                <a:ea typeface="Trebuchet MS"/>
                <a:cs typeface="Trebuchet MS"/>
                <a:sym typeface="Trebuchet MS"/>
              </a:rPr>
              <a:t>Resiliencia financiera</a:t>
            </a:r>
          </a:p>
          <a:p>
            <a:pPr algn="ctr">
              <a:buSzPct val="100000"/>
              <a:buFont typeface="Trebuchet MS" panose="020B0603020202020204" pitchFamily="34" charset="0"/>
              <a:buChar char="​"/>
            </a:pPr>
            <a:endParaRPr lang="en" sz="2000" dirty="0">
              <a:solidFill>
                <a:srgbClr val="FFFFFF"/>
              </a:solidFill>
              <a:latin typeface="Trebuchet MS" panose="020B0603020202020204" pitchFamily="34" charset="0"/>
              <a:ea typeface="Trebuchet MS"/>
              <a:cs typeface="Trebuchet MS"/>
              <a:sym typeface="Trebuchet MS"/>
            </a:endParaRPr>
          </a:p>
          <a:p>
            <a:pPr algn="ctr">
              <a:buSzPct val="100000"/>
              <a:buFont typeface="Trebuchet MS" panose="020B0603020202020204" pitchFamily="34" charset="0"/>
              <a:buChar char="​"/>
            </a:pPr>
            <a:endParaRPr lang="en" sz="20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Administrar la caja y la liquidez</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Garantizar disciplina de costos</a:t>
            </a:r>
          </a:p>
          <a:p>
            <a:pPr>
              <a:buSzPct val="100000"/>
              <a:buFont typeface="Trebuchet MS" panose="020B0603020202020204" pitchFamily="34" charset="0"/>
              <a:buChar char="​"/>
            </a:pPr>
            <a:endParaRPr lang="es-CL" sz="1200" dirty="0">
              <a:solidFill>
                <a:srgbClr val="FFFFFF"/>
              </a:solidFill>
              <a:latin typeface="Trebuchet MS" panose="020B0603020202020204" pitchFamily="34" charset="0"/>
              <a:ea typeface="Trebuchet MS"/>
              <a:cs typeface="Trebuchet MS"/>
              <a:sym typeface="Trebuchet MS"/>
            </a:endParaRPr>
          </a:p>
          <a:p>
            <a:pPr>
              <a:buSzPct val="100000"/>
              <a:buFont typeface="Trebuchet MS" panose="020B0603020202020204" pitchFamily="34" charset="0"/>
              <a:buChar char="​"/>
            </a:pPr>
            <a:r>
              <a:rPr lang="es-CL" sz="1200" dirty="0">
                <a:solidFill>
                  <a:srgbClr val="FFFFFF"/>
                </a:solidFill>
                <a:latin typeface="Trebuchet MS" panose="020B0603020202020204" pitchFamily="34" charset="0"/>
                <a:ea typeface="Trebuchet MS"/>
                <a:cs typeface="Trebuchet MS"/>
                <a:sym typeface="Trebuchet MS"/>
              </a:rPr>
              <a:t>Revisar el plan financiero y realizar pruebas de estrés en distintos escenarios</a:t>
            </a:r>
            <a:endParaRPr sz="1200" dirty="0">
              <a:solidFill>
                <a:srgbClr val="FFFFFF"/>
              </a:solidFill>
              <a:latin typeface="Trebuchet MS" panose="020B0603020202020204" pitchFamily="34" charset="0"/>
              <a:ea typeface="Trebuchet MS"/>
              <a:cs typeface="Trebuchet MS"/>
              <a:sym typeface="Trebuchet MS"/>
            </a:endParaRPr>
          </a:p>
        </p:txBody>
      </p:sp>
      <p:sp>
        <p:nvSpPr>
          <p:cNvPr id="34" name="Oval 20"/>
          <p:cNvSpPr>
            <a:spLocks noChangeAspect="1" noChangeArrowheads="1"/>
          </p:cNvSpPr>
          <p:nvPr/>
        </p:nvSpPr>
        <p:spPr bwMode="auto">
          <a:xfrm>
            <a:off x="6203798" y="1198898"/>
            <a:ext cx="306910" cy="30691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200" dirty="0">
                <a:solidFill>
                  <a:schemeClr val="tx2"/>
                </a:solidFill>
              </a:rPr>
              <a:t>1</a:t>
            </a:r>
          </a:p>
        </p:txBody>
      </p:sp>
      <p:sp>
        <p:nvSpPr>
          <p:cNvPr id="35" name="Oval 20"/>
          <p:cNvSpPr>
            <a:spLocks noChangeAspect="1" noChangeArrowheads="1"/>
          </p:cNvSpPr>
          <p:nvPr/>
        </p:nvSpPr>
        <p:spPr bwMode="auto">
          <a:xfrm>
            <a:off x="4304763" y="2564651"/>
            <a:ext cx="306910" cy="30691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200" dirty="0">
                <a:solidFill>
                  <a:schemeClr val="tx2"/>
                </a:solidFill>
              </a:rPr>
              <a:t>4</a:t>
            </a:r>
          </a:p>
        </p:txBody>
      </p:sp>
      <p:sp>
        <p:nvSpPr>
          <p:cNvPr id="36" name="Oval 20"/>
          <p:cNvSpPr>
            <a:spLocks noChangeAspect="1" noChangeArrowheads="1"/>
          </p:cNvSpPr>
          <p:nvPr/>
        </p:nvSpPr>
        <p:spPr bwMode="auto">
          <a:xfrm>
            <a:off x="8105969" y="1198898"/>
            <a:ext cx="306910" cy="30691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200" dirty="0">
                <a:solidFill>
                  <a:schemeClr val="tx2"/>
                </a:solidFill>
              </a:rPr>
              <a:t>2</a:t>
            </a:r>
          </a:p>
        </p:txBody>
      </p:sp>
      <p:sp>
        <p:nvSpPr>
          <p:cNvPr id="37" name="Oval 20"/>
          <p:cNvSpPr>
            <a:spLocks noChangeAspect="1" noChangeArrowheads="1"/>
          </p:cNvSpPr>
          <p:nvPr/>
        </p:nvSpPr>
        <p:spPr bwMode="auto">
          <a:xfrm>
            <a:off x="9954296" y="1198898"/>
            <a:ext cx="306910" cy="30691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200" dirty="0">
                <a:solidFill>
                  <a:schemeClr val="tx2"/>
                </a:solidFill>
              </a:rPr>
              <a:t>3</a:t>
            </a:r>
          </a:p>
        </p:txBody>
      </p:sp>
      <p:sp>
        <p:nvSpPr>
          <p:cNvPr id="9" name="TextBox 8"/>
          <p:cNvSpPr txBox="1"/>
          <p:nvPr/>
        </p:nvSpPr>
        <p:spPr>
          <a:xfrm>
            <a:off x="4304763" y="404261"/>
            <a:ext cx="7573210" cy="5678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CL" sz="2400" dirty="0">
                <a:solidFill>
                  <a:srgbClr val="29BA74"/>
                </a:solidFill>
              </a:rPr>
              <a:t>Debemos gestionar la crisis basados en 4 pilares</a:t>
            </a:r>
          </a:p>
        </p:txBody>
      </p:sp>
    </p:spTree>
    <p:custDataLst>
      <p:tags r:id="rId2"/>
    </p:custDataLst>
    <p:extLst>
      <p:ext uri="{BB962C8B-B14F-4D97-AF65-F5344CB8AC3E}">
        <p14:creationId xmlns:p14="http://schemas.microsoft.com/office/powerpoint/2010/main" val="2294125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90"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471638" y="2681103"/>
            <a:ext cx="3286243" cy="1495794"/>
          </a:xfrm>
        </p:spPr>
        <p:txBody>
          <a:bodyPr/>
          <a:lstStyle/>
          <a:p>
            <a:r>
              <a:rPr lang="es-CL" dirty="0">
                <a:solidFill>
                  <a:srgbClr val="D4DF33"/>
                </a:solidFill>
              </a:rPr>
              <a:t>Pre recuperación:</a:t>
            </a:r>
            <a:r>
              <a:rPr lang="es-CL" dirty="0"/>
              <a:t/>
            </a:r>
            <a:br>
              <a:rPr lang="es-CL" dirty="0"/>
            </a:br>
            <a:r>
              <a:rPr lang="es-CL" dirty="0"/>
              <a:t>¿Cómo estar preparados? </a:t>
            </a:r>
          </a:p>
        </p:txBody>
      </p:sp>
      <p:sp>
        <p:nvSpPr>
          <p:cNvPr id="9" name="TextBox 8"/>
          <p:cNvSpPr txBox="1"/>
          <p:nvPr/>
        </p:nvSpPr>
        <p:spPr>
          <a:xfrm>
            <a:off x="4304763" y="567891"/>
            <a:ext cx="7573210" cy="5678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CL" sz="2000" dirty="0">
                <a:solidFill>
                  <a:srgbClr val="29BA74"/>
                </a:solidFill>
              </a:rPr>
              <a:t>La recuperación puede comenzar antes de lo esperado…</a:t>
            </a:r>
          </a:p>
        </p:txBody>
      </p:sp>
      <p:pic>
        <p:nvPicPr>
          <p:cNvPr id="5" name="Picture 4"/>
          <p:cNvPicPr>
            <a:picLocks noChangeAspect="1"/>
          </p:cNvPicPr>
          <p:nvPr/>
        </p:nvPicPr>
        <p:blipFill>
          <a:blip r:embed="rId9"/>
          <a:stretch>
            <a:fillRect/>
          </a:stretch>
        </p:blipFill>
        <p:spPr>
          <a:xfrm>
            <a:off x="4230871" y="1411335"/>
            <a:ext cx="4354919" cy="2188513"/>
          </a:xfrm>
          <a:prstGeom prst="rect">
            <a:avLst/>
          </a:prstGeom>
        </p:spPr>
      </p:pic>
      <p:sp>
        <p:nvSpPr>
          <p:cNvPr id="17" name="TextBox 16"/>
          <p:cNvSpPr txBox="1"/>
          <p:nvPr/>
        </p:nvSpPr>
        <p:spPr>
          <a:xfrm>
            <a:off x="4304763" y="4013735"/>
            <a:ext cx="7573210" cy="5678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s-CL" sz="2000" dirty="0">
                <a:solidFill>
                  <a:srgbClr val="29BA74"/>
                </a:solidFill>
              </a:rPr>
              <a:t>Cuatro consideraciones para prepararse para la recuperación</a:t>
            </a:r>
          </a:p>
        </p:txBody>
      </p:sp>
      <p:sp>
        <p:nvSpPr>
          <p:cNvPr id="7" name="TextBox 6"/>
          <p:cNvSpPr txBox="1"/>
          <p:nvPr/>
        </p:nvSpPr>
        <p:spPr>
          <a:xfrm>
            <a:off x="4616675" y="4869917"/>
            <a:ext cx="6949385" cy="4042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lnSpc>
                <a:spcPct val="150000"/>
              </a:lnSpc>
              <a:buClr>
                <a:schemeClr val="tx2">
                  <a:lumMod val="100000"/>
                </a:schemeClr>
              </a:buClr>
              <a:buSzPct val="100000"/>
              <a:buFont typeface="Trebuchet MS" panose="020B0603020202020204" pitchFamily="34" charset="0"/>
              <a:buChar char="•"/>
            </a:pPr>
            <a:r>
              <a:rPr lang="es-CL" sz="1600" dirty="0">
                <a:solidFill>
                  <a:schemeClr val="tx1">
                    <a:lumMod val="100000"/>
                  </a:schemeClr>
                </a:solidFill>
                <a:latin typeface="Trebuchet MS" panose="020B0603020202020204" pitchFamily="34" charset="0"/>
              </a:rPr>
              <a:t>Esperar </a:t>
            </a:r>
            <a:r>
              <a:rPr lang="es-CL" sz="1600" dirty="0">
                <a:solidFill>
                  <a:srgbClr val="29BA74"/>
                </a:solidFill>
                <a:latin typeface="Trebuchet MS" panose="020B0603020202020204" pitchFamily="34" charset="0"/>
              </a:rPr>
              <a:t>distintas velocidades de recuperación </a:t>
            </a:r>
            <a:r>
              <a:rPr lang="es-CL" sz="1600" dirty="0">
                <a:solidFill>
                  <a:schemeClr val="tx1">
                    <a:lumMod val="100000"/>
                  </a:schemeClr>
                </a:solidFill>
                <a:latin typeface="Trebuchet MS" panose="020B0603020202020204" pitchFamily="34" charset="0"/>
              </a:rPr>
              <a:t>para distintos sectores</a:t>
            </a:r>
          </a:p>
          <a:p>
            <a:pPr marL="324000" lvl="1" indent="-216000">
              <a:lnSpc>
                <a:spcPct val="150000"/>
              </a:lnSpc>
              <a:buClr>
                <a:schemeClr val="tx2">
                  <a:lumMod val="100000"/>
                </a:schemeClr>
              </a:buClr>
              <a:buSzPct val="100000"/>
              <a:buFont typeface="Trebuchet MS" panose="020B0603020202020204" pitchFamily="34" charset="0"/>
              <a:buChar char="•"/>
            </a:pPr>
            <a:r>
              <a:rPr lang="es-CL" sz="1600" dirty="0">
                <a:solidFill>
                  <a:schemeClr val="tx1">
                    <a:lumMod val="100000"/>
                  </a:schemeClr>
                </a:solidFill>
                <a:latin typeface="Trebuchet MS" panose="020B0603020202020204" pitchFamily="34" charset="0"/>
              </a:rPr>
              <a:t>Desarrollar </a:t>
            </a:r>
            <a:r>
              <a:rPr lang="es-CL" sz="1600" dirty="0">
                <a:solidFill>
                  <a:srgbClr val="29BA74"/>
                </a:solidFill>
                <a:latin typeface="Trebuchet MS" panose="020B0603020202020204" pitchFamily="34" charset="0"/>
              </a:rPr>
              <a:t>estrategias de recuperación específicas </a:t>
            </a:r>
            <a:r>
              <a:rPr lang="es-CL" sz="1600" dirty="0">
                <a:solidFill>
                  <a:schemeClr val="tx1">
                    <a:lumMod val="100000"/>
                  </a:schemeClr>
                </a:solidFill>
                <a:latin typeface="Trebuchet MS" panose="020B0603020202020204" pitchFamily="34" charset="0"/>
              </a:rPr>
              <a:t>por región</a:t>
            </a:r>
          </a:p>
          <a:p>
            <a:pPr marL="324000" lvl="1" indent="-216000">
              <a:lnSpc>
                <a:spcPct val="150000"/>
              </a:lnSpc>
              <a:buClr>
                <a:schemeClr val="tx2">
                  <a:lumMod val="100000"/>
                </a:schemeClr>
              </a:buClr>
              <a:buSzPct val="100000"/>
              <a:buFont typeface="Trebuchet MS" panose="020B0603020202020204" pitchFamily="34" charset="0"/>
              <a:buChar char="•"/>
            </a:pPr>
            <a:r>
              <a:rPr lang="es-CL" sz="1600" dirty="0">
                <a:solidFill>
                  <a:schemeClr val="tx1">
                    <a:lumMod val="100000"/>
                  </a:schemeClr>
                </a:solidFill>
                <a:latin typeface="Trebuchet MS" panose="020B0603020202020204" pitchFamily="34" charset="0"/>
              </a:rPr>
              <a:t>Estar atentos a </a:t>
            </a:r>
            <a:r>
              <a:rPr lang="es-CL" sz="1600" dirty="0">
                <a:solidFill>
                  <a:srgbClr val="29BA74"/>
                </a:solidFill>
                <a:latin typeface="Trebuchet MS" panose="020B0603020202020204" pitchFamily="34" charset="0"/>
              </a:rPr>
              <a:t>nuevas oportunidades </a:t>
            </a:r>
            <a:r>
              <a:rPr lang="es-CL" sz="1600" dirty="0">
                <a:solidFill>
                  <a:schemeClr val="tx1">
                    <a:lumMod val="100000"/>
                  </a:schemeClr>
                </a:solidFill>
                <a:latin typeface="Trebuchet MS" panose="020B0603020202020204" pitchFamily="34" charset="0"/>
              </a:rPr>
              <a:t>en tiempos de adversidad</a:t>
            </a:r>
          </a:p>
          <a:p>
            <a:pPr marL="324000" lvl="1" indent="-216000">
              <a:lnSpc>
                <a:spcPct val="150000"/>
              </a:lnSpc>
              <a:buClr>
                <a:schemeClr val="tx2">
                  <a:lumMod val="100000"/>
                </a:schemeClr>
              </a:buClr>
              <a:buSzPct val="100000"/>
              <a:buFont typeface="Trebuchet MS" panose="020B0603020202020204" pitchFamily="34" charset="0"/>
              <a:buChar char="•"/>
            </a:pPr>
            <a:r>
              <a:rPr lang="es-CL" sz="1600" dirty="0">
                <a:solidFill>
                  <a:srgbClr val="29BA74"/>
                </a:solidFill>
                <a:latin typeface="Trebuchet MS" panose="020B0603020202020204" pitchFamily="34" charset="0"/>
              </a:rPr>
              <a:t>Innovar rápidamente </a:t>
            </a:r>
            <a:r>
              <a:rPr lang="es-CL" sz="1600" dirty="0">
                <a:solidFill>
                  <a:schemeClr val="tx1">
                    <a:lumMod val="100000"/>
                  </a:schemeClr>
                </a:solidFill>
                <a:latin typeface="Trebuchet MS" panose="020B0603020202020204" pitchFamily="34" charset="0"/>
              </a:rPr>
              <a:t>para satisfacer nuevas necesidades </a:t>
            </a:r>
          </a:p>
          <a:p>
            <a:pPr marL="324000" lvl="1" indent="-216000">
              <a:lnSpc>
                <a:spcPct val="150000"/>
              </a:lnSpc>
              <a:buClr>
                <a:schemeClr val="tx2">
                  <a:lumMod val="100000"/>
                </a:schemeClr>
              </a:buClr>
              <a:buSzPct val="100000"/>
              <a:buFont typeface="Trebuchet MS" panose="020B0603020202020204" pitchFamily="34" charset="0"/>
              <a:buChar char="•"/>
            </a:pPr>
            <a:endParaRPr lang="es-CL" sz="1600" dirty="0">
              <a:solidFill>
                <a:schemeClr val="tx1">
                  <a:lumMod val="100000"/>
                </a:schemeClr>
              </a:solidFill>
              <a:latin typeface="Trebuchet MS" panose="020B0603020202020204" pitchFamily="34" charset="0"/>
            </a:endParaRPr>
          </a:p>
        </p:txBody>
      </p:sp>
      <p:grpSp>
        <p:nvGrpSpPr>
          <p:cNvPr id="19" name="Group 18"/>
          <p:cNvGrpSpPr>
            <a:grpSpLocks noChangeAspect="1"/>
          </p:cNvGrpSpPr>
          <p:nvPr/>
        </p:nvGrpSpPr>
        <p:grpSpPr>
          <a:xfrm>
            <a:off x="4637952" y="4997540"/>
            <a:ext cx="264356" cy="264356"/>
            <a:chOff x="982662" y="1847850"/>
            <a:chExt cx="269875" cy="269875"/>
          </a:xfrm>
        </p:grpSpPr>
        <p:sp>
          <p:nvSpPr>
            <p:cNvPr id="20"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2" name="Group 21"/>
          <p:cNvGrpSpPr>
            <a:grpSpLocks noChangeAspect="1"/>
          </p:cNvGrpSpPr>
          <p:nvPr/>
        </p:nvGrpSpPr>
        <p:grpSpPr>
          <a:xfrm>
            <a:off x="4637952" y="5364029"/>
            <a:ext cx="264356" cy="264356"/>
            <a:chOff x="982662" y="1847850"/>
            <a:chExt cx="269875" cy="269875"/>
          </a:xfrm>
        </p:grpSpPr>
        <p:sp>
          <p:nvSpPr>
            <p:cNvPr id="23"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5" name="Group 24"/>
          <p:cNvGrpSpPr>
            <a:grpSpLocks noChangeAspect="1"/>
          </p:cNvGrpSpPr>
          <p:nvPr/>
        </p:nvGrpSpPr>
        <p:grpSpPr>
          <a:xfrm>
            <a:off x="4637952" y="5730518"/>
            <a:ext cx="264356" cy="264356"/>
            <a:chOff x="982662" y="1847850"/>
            <a:chExt cx="269875" cy="269875"/>
          </a:xfrm>
        </p:grpSpPr>
        <p:sp>
          <p:nvSpPr>
            <p:cNvPr id="26"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8" name="Group 27"/>
          <p:cNvGrpSpPr>
            <a:grpSpLocks noChangeAspect="1"/>
          </p:cNvGrpSpPr>
          <p:nvPr/>
        </p:nvGrpSpPr>
        <p:grpSpPr>
          <a:xfrm>
            <a:off x="4637952" y="6097007"/>
            <a:ext cx="264356" cy="264356"/>
            <a:chOff x="982662" y="1847850"/>
            <a:chExt cx="269875" cy="269875"/>
          </a:xfrm>
        </p:grpSpPr>
        <p:sp>
          <p:nvSpPr>
            <p:cNvPr id="38" name="Oval 50"/>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8" name="Rectangle 7"/>
          <p:cNvSpPr/>
          <p:nvPr/>
        </p:nvSpPr>
        <p:spPr>
          <a:xfrm>
            <a:off x="9057771" y="2522861"/>
            <a:ext cx="2820202" cy="1015663"/>
          </a:xfrm>
          <a:prstGeom prst="rect">
            <a:avLst/>
          </a:prstGeom>
        </p:spPr>
        <p:txBody>
          <a:bodyPr wrap="square">
            <a:spAutoFit/>
          </a:bodyPr>
          <a:lstStyle/>
          <a:p>
            <a:r>
              <a:rPr lang="en-US" sz="1200" dirty="0"/>
              <a:t>"As of today, all of our stores in Greater China have reopened […] and we will be closing all of our retail stores outside of Greater China." —Tim Cook, Apple CEO (13 Mar.)</a:t>
            </a:r>
          </a:p>
        </p:txBody>
      </p:sp>
      <p:pic>
        <p:nvPicPr>
          <p:cNvPr id="10" name="Picture 9"/>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51138" y="1632563"/>
            <a:ext cx="833469" cy="833469"/>
          </a:xfrm>
          <a:prstGeom prst="rect">
            <a:avLst/>
          </a:prstGeom>
        </p:spPr>
      </p:pic>
    </p:spTree>
    <p:custDataLst>
      <p:tags r:id="rId2"/>
    </p:custDataLst>
    <p:extLst>
      <p:ext uri="{BB962C8B-B14F-4D97-AF65-F5344CB8AC3E}">
        <p14:creationId xmlns:p14="http://schemas.microsoft.com/office/powerpoint/2010/main" val="2033285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4" name="think-cell Slide" r:id="rId8" imgW="473" imgH="473" progId="TCLayout.ActiveDocument.1">
                  <p:embed/>
                </p:oleObj>
              </mc:Choice>
              <mc:Fallback>
                <p:oleObj name="think-cell Slide" r:id="rId8" imgW="473" imgH="47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9" name="Rectangle 28"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8" name="Rectangle 197"/>
          <p:cNvSpPr/>
          <p:nvPr/>
        </p:nvSpPr>
        <p:spPr>
          <a:xfrm>
            <a:off x="1550609" y="3429000"/>
            <a:ext cx="394420" cy="2315010"/>
          </a:xfrm>
          <a:prstGeom prst="rect">
            <a:avLst/>
          </a:prstGeom>
          <a:solidFill>
            <a:srgbClr val="C8C8C8"/>
          </a:solidFill>
          <a:ln w="13335" cap="rnd" cmpd="sng" algn="ctr">
            <a:noFill/>
            <a:prstDash val="sysDot"/>
            <a:round/>
            <a:headEnd type="none" w="med" len="med"/>
            <a:tailEnd type="none" w="med" len="med"/>
          </a:ln>
          <a:effectLst/>
          <a:extLst>
            <a:ext uri="{91240B29-F687-4F45-9708-019B960494DF}">
              <a14:hiddenLine xmlns:a14="http://schemas.microsoft.com/office/drawing/2010/main" w="13335" cap="rnd" cmpd="sng" algn="ctr">
                <a:solidFill>
                  <a:srgbClr val="6E6F73"/>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algn="ctr"/>
            <a:endParaRPr lang="es-ES" sz="1200" dirty="0">
              <a:solidFill>
                <a:srgbClr val="FFFFFF"/>
              </a:solidFill>
            </a:endParaRPr>
          </a:p>
        </p:txBody>
      </p:sp>
      <p:sp>
        <p:nvSpPr>
          <p:cNvPr id="199" name="Rectangle 198"/>
          <p:cNvSpPr/>
          <p:nvPr/>
        </p:nvSpPr>
        <p:spPr>
          <a:xfrm>
            <a:off x="3988703" y="3429000"/>
            <a:ext cx="608697" cy="2315010"/>
          </a:xfrm>
          <a:prstGeom prst="rect">
            <a:avLst/>
          </a:prstGeom>
          <a:solidFill>
            <a:srgbClr val="C8C8C8"/>
          </a:solidFill>
          <a:ln w="13335" cap="rnd" cmpd="sng" algn="ctr">
            <a:noFill/>
            <a:prstDash val="sysDot"/>
            <a:round/>
            <a:headEnd type="none" w="med" len="med"/>
            <a:tailEnd type="none" w="med" len="med"/>
          </a:ln>
          <a:effectLst/>
          <a:extLst>
            <a:ext uri="{91240B29-F687-4F45-9708-019B960494DF}">
              <a14:hiddenLine xmlns:a14="http://schemas.microsoft.com/office/drawing/2010/main" w="13335" cap="rnd" cmpd="sng" algn="ctr">
                <a:solidFill>
                  <a:srgbClr val="6E6F73"/>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algn="ctr"/>
            <a:endParaRPr lang="es-ES" sz="1200" dirty="0">
              <a:solidFill>
                <a:srgbClr val="FFFFFF"/>
              </a:solidFill>
            </a:endParaRPr>
          </a:p>
        </p:txBody>
      </p:sp>
      <p:sp>
        <p:nvSpPr>
          <p:cNvPr id="200" name="Rectangle 199"/>
          <p:cNvSpPr/>
          <p:nvPr/>
        </p:nvSpPr>
        <p:spPr>
          <a:xfrm>
            <a:off x="6534143" y="3429000"/>
            <a:ext cx="1200598" cy="2315010"/>
          </a:xfrm>
          <a:prstGeom prst="rect">
            <a:avLst/>
          </a:prstGeom>
          <a:solidFill>
            <a:srgbClr val="C8C8C8"/>
          </a:solidFill>
          <a:ln w="13335" cap="rnd" cmpd="sng" algn="ctr">
            <a:noFill/>
            <a:prstDash val="sysDot"/>
            <a:round/>
            <a:headEnd type="none" w="med" len="med"/>
            <a:tailEnd type="none" w="med" len="med"/>
          </a:ln>
          <a:effectLst/>
          <a:extLst>
            <a:ext uri="{91240B29-F687-4F45-9708-019B960494DF}">
              <a14:hiddenLine xmlns:a14="http://schemas.microsoft.com/office/drawing/2010/main" w="13335" cap="rnd" cmpd="sng" algn="ctr">
                <a:solidFill>
                  <a:srgbClr val="6E6F73"/>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algn="ctr"/>
            <a:endParaRPr lang="es-ES" sz="1200" dirty="0">
              <a:solidFill>
                <a:srgbClr val="FFFFFF"/>
              </a:solidFill>
            </a:endParaRPr>
          </a:p>
        </p:txBody>
      </p:sp>
      <p:sp>
        <p:nvSpPr>
          <p:cNvPr id="5" name="ee4pContent2"/>
          <p:cNvSpPr txBox="1"/>
          <p:nvPr>
            <p:custDataLst>
              <p:tags r:id="rId5"/>
            </p:custDataLst>
          </p:nvPr>
        </p:nvSpPr>
        <p:spPr>
          <a:xfrm>
            <a:off x="8924347" y="1927114"/>
            <a:ext cx="2662824"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s-ES" dirty="0">
                <a:latin typeface="+mn-lt"/>
              </a:rPr>
              <a:t>Las crisis sanitarias anteriores (ej.: </a:t>
            </a:r>
            <a:r>
              <a:rPr lang="es-ES" dirty="0" err="1"/>
              <a:t>SARS</a:t>
            </a:r>
            <a:r>
              <a:rPr lang="es-ES" dirty="0"/>
              <a:t> en 2003, la "gripe de Hong Kong" H3N2 en 1968, la gripe asiática</a:t>
            </a:r>
            <a:r>
              <a:rPr lang="es-ES" i="1" dirty="0"/>
              <a:t> </a:t>
            </a:r>
            <a:r>
              <a:rPr lang="es-ES" dirty="0"/>
              <a:t>H2N2 en 1958 y la gripe española</a:t>
            </a:r>
            <a:r>
              <a:rPr lang="es-ES" i="1" dirty="0"/>
              <a:t> </a:t>
            </a:r>
            <a:r>
              <a:rPr lang="es-ES" dirty="0"/>
              <a:t>H1N1 </a:t>
            </a:r>
            <a:r>
              <a:rPr lang="es-ES" dirty="0">
                <a:latin typeface="+mn-lt"/>
              </a:rPr>
              <a:t>en 1918) normalmente dieron lugar a escenarios en V</a:t>
            </a:r>
          </a:p>
          <a:p>
            <a:pPr>
              <a:buNone/>
            </a:pPr>
            <a:endParaRPr lang="es-ES" dirty="0">
              <a:latin typeface="+mn-lt"/>
            </a:endParaRPr>
          </a:p>
          <a:p>
            <a:pPr>
              <a:buNone/>
            </a:pPr>
            <a:r>
              <a:rPr lang="es-ES" sz="2800" dirty="0">
                <a:solidFill>
                  <a:srgbClr val="D4DF33"/>
                </a:solidFill>
                <a:latin typeface="+mn-lt"/>
              </a:rPr>
              <a:t>¿Será diferente esta crisis?</a:t>
            </a:r>
          </a:p>
        </p:txBody>
      </p:sp>
      <p:sp>
        <p:nvSpPr>
          <p:cNvPr id="2" name="Title 1"/>
          <p:cNvSpPr>
            <a:spLocks noGrp="1"/>
          </p:cNvSpPr>
          <p:nvPr>
            <p:ph type="title"/>
          </p:nvPr>
        </p:nvSpPr>
        <p:spPr>
          <a:xfrm>
            <a:off x="630000" y="622800"/>
            <a:ext cx="7105078" cy="941796"/>
          </a:xfrm>
        </p:spPr>
        <p:txBody>
          <a:bodyPr/>
          <a:lstStyle/>
          <a:p>
            <a:r>
              <a:rPr lang="es-ES" dirty="0">
                <a:solidFill>
                  <a:schemeClr val="tx2"/>
                </a:solidFill>
              </a:rPr>
              <a:t>El COVID-19 está cambiando la economía mundial - Tres escenarios</a:t>
            </a:r>
            <a:endParaRPr lang="es-ES" dirty="0"/>
          </a:p>
        </p:txBody>
      </p:sp>
      <p:sp>
        <p:nvSpPr>
          <p:cNvPr id="20" name="ee4pHeader1"/>
          <p:cNvSpPr txBox="1"/>
          <p:nvPr/>
        </p:nvSpPr>
        <p:spPr>
          <a:xfrm>
            <a:off x="630000" y="1982994"/>
            <a:ext cx="2132239" cy="369332"/>
          </a:xfrm>
          <a:prstGeom prst="rect">
            <a:avLst/>
          </a:prstGeom>
          <a:noFill/>
          <a:ln cap="rnd">
            <a:noFill/>
          </a:ln>
        </p:spPr>
        <p:txBody>
          <a:bodyPr wrap="square" lIns="0" tIns="0" rIns="0" bIns="0" rtlCol="0" anchor="b" anchorCtr="0">
            <a:spAutoFit/>
          </a:bodyPr>
          <a:lstStyle/>
          <a:p>
            <a:pPr marL="0" lvl="3">
              <a:spcBef>
                <a:spcPts val="600"/>
              </a:spcBef>
            </a:pPr>
            <a:r>
              <a:rPr lang="es-ES" sz="2400" dirty="0">
                <a:solidFill>
                  <a:schemeClr val="tx2"/>
                </a:solidFill>
              </a:rPr>
              <a:t>Escenario en V</a:t>
            </a:r>
            <a:endParaRPr lang="es-ES" sz="1600" dirty="0">
              <a:solidFill>
                <a:srgbClr val="575757"/>
              </a:solidFill>
            </a:endParaRPr>
          </a:p>
        </p:txBody>
      </p:sp>
      <p:sp>
        <p:nvSpPr>
          <p:cNvPr id="26" name="ee4pHeader1"/>
          <p:cNvSpPr txBox="1"/>
          <p:nvPr/>
        </p:nvSpPr>
        <p:spPr>
          <a:xfrm>
            <a:off x="630000" y="2503818"/>
            <a:ext cx="2424804" cy="600164"/>
          </a:xfrm>
          <a:prstGeom prst="rect">
            <a:avLst/>
          </a:prstGeom>
          <a:noFill/>
          <a:ln cap="rnd">
            <a:noFill/>
          </a:ln>
        </p:spPr>
        <p:txBody>
          <a:bodyPr wrap="square" lIns="0" tIns="0" rIns="0" bIns="0" rtlCol="0" anchor="b" anchorCtr="0">
            <a:spAutoFit/>
          </a:bodyPr>
          <a:lstStyle/>
          <a:p>
            <a:pPr marL="0" lvl="3">
              <a:spcBef>
                <a:spcPts val="600"/>
              </a:spcBef>
            </a:pPr>
            <a:r>
              <a:rPr lang="es-ES" sz="1300" dirty="0">
                <a:solidFill>
                  <a:srgbClr val="575757"/>
                </a:solidFill>
              </a:rPr>
              <a:t>Crisis económica clásica en la que el crecimiento acaba repuntando</a:t>
            </a:r>
          </a:p>
        </p:txBody>
      </p:sp>
      <p:sp>
        <p:nvSpPr>
          <p:cNvPr id="21" name="ee4pHeader1"/>
          <p:cNvSpPr txBox="1"/>
          <p:nvPr/>
        </p:nvSpPr>
        <p:spPr>
          <a:xfrm>
            <a:off x="3054804" y="1982994"/>
            <a:ext cx="2132239" cy="369332"/>
          </a:xfrm>
          <a:prstGeom prst="rect">
            <a:avLst/>
          </a:prstGeom>
          <a:noFill/>
          <a:ln cap="rnd">
            <a:noFill/>
          </a:ln>
        </p:spPr>
        <p:txBody>
          <a:bodyPr wrap="square" lIns="0" tIns="0" rIns="0" bIns="0" rtlCol="0" anchor="b" anchorCtr="0">
            <a:spAutoFit/>
          </a:bodyPr>
          <a:lstStyle/>
          <a:p>
            <a:pPr marL="0" lvl="3">
              <a:spcBef>
                <a:spcPts val="600"/>
              </a:spcBef>
            </a:pPr>
            <a:r>
              <a:rPr lang="es-ES" sz="2400" dirty="0">
                <a:solidFill>
                  <a:schemeClr val="tx2"/>
                </a:solidFill>
              </a:rPr>
              <a:t>Escenario en U</a:t>
            </a:r>
            <a:endParaRPr lang="es-ES" sz="1600" dirty="0">
              <a:solidFill>
                <a:srgbClr val="575757"/>
              </a:solidFill>
            </a:endParaRPr>
          </a:p>
        </p:txBody>
      </p:sp>
      <p:sp>
        <p:nvSpPr>
          <p:cNvPr id="27" name="ee4pHeader1"/>
          <p:cNvSpPr txBox="1"/>
          <p:nvPr/>
        </p:nvSpPr>
        <p:spPr>
          <a:xfrm>
            <a:off x="3097288" y="2503818"/>
            <a:ext cx="2438537" cy="600164"/>
          </a:xfrm>
          <a:prstGeom prst="rect">
            <a:avLst/>
          </a:prstGeom>
          <a:noFill/>
          <a:ln cap="rnd">
            <a:noFill/>
          </a:ln>
        </p:spPr>
        <p:txBody>
          <a:bodyPr wrap="square" lIns="0" tIns="0" rIns="0" bIns="0" rtlCol="0" anchor="b" anchorCtr="0">
            <a:spAutoFit/>
          </a:bodyPr>
          <a:lstStyle/>
          <a:p>
            <a:pPr marL="0" lvl="3">
              <a:spcBef>
                <a:spcPts val="600"/>
              </a:spcBef>
            </a:pPr>
            <a:r>
              <a:rPr lang="es-ES" sz="1300" dirty="0">
                <a:solidFill>
                  <a:srgbClr val="575757"/>
                </a:solidFill>
              </a:rPr>
              <a:t>Ligeras pérdidas permanentes de producción tras la crisis inicial</a:t>
            </a:r>
          </a:p>
        </p:txBody>
      </p:sp>
      <p:sp>
        <p:nvSpPr>
          <p:cNvPr id="22" name="ee4pHeader1"/>
          <p:cNvSpPr txBox="1"/>
          <p:nvPr/>
        </p:nvSpPr>
        <p:spPr>
          <a:xfrm>
            <a:off x="5590459" y="1982994"/>
            <a:ext cx="2317875" cy="369332"/>
          </a:xfrm>
          <a:prstGeom prst="rect">
            <a:avLst/>
          </a:prstGeom>
          <a:noFill/>
          <a:ln cap="rnd">
            <a:noFill/>
          </a:ln>
        </p:spPr>
        <p:txBody>
          <a:bodyPr wrap="square" lIns="0" tIns="0" rIns="0" bIns="0" rtlCol="0" anchor="b" anchorCtr="0">
            <a:spAutoFit/>
          </a:bodyPr>
          <a:lstStyle/>
          <a:p>
            <a:pPr marL="0" lvl="3">
              <a:spcBef>
                <a:spcPts val="600"/>
              </a:spcBef>
            </a:pPr>
            <a:r>
              <a:rPr lang="es-ES" sz="2400" dirty="0">
                <a:solidFill>
                  <a:schemeClr val="tx2"/>
                </a:solidFill>
              </a:rPr>
              <a:t>Escenario en L</a:t>
            </a:r>
            <a:endParaRPr lang="es-ES" sz="1600" dirty="0">
              <a:solidFill>
                <a:srgbClr val="575757"/>
              </a:solidFill>
            </a:endParaRPr>
          </a:p>
        </p:txBody>
      </p:sp>
      <p:sp>
        <p:nvSpPr>
          <p:cNvPr id="28" name="ee4pHeader1"/>
          <p:cNvSpPr txBox="1"/>
          <p:nvPr/>
        </p:nvSpPr>
        <p:spPr>
          <a:xfrm>
            <a:off x="5600658" y="2603845"/>
            <a:ext cx="2843125" cy="400110"/>
          </a:xfrm>
          <a:prstGeom prst="rect">
            <a:avLst/>
          </a:prstGeom>
          <a:noFill/>
          <a:ln cap="rnd">
            <a:noFill/>
          </a:ln>
        </p:spPr>
        <p:txBody>
          <a:bodyPr wrap="square" lIns="0" tIns="0" rIns="0" bIns="0" rtlCol="0" anchor="b" anchorCtr="0">
            <a:spAutoFit/>
          </a:bodyPr>
          <a:lstStyle/>
          <a:p>
            <a:pPr marL="0" lvl="3">
              <a:spcBef>
                <a:spcPts val="600"/>
              </a:spcBef>
            </a:pPr>
            <a:r>
              <a:rPr lang="es-ES" sz="1300" dirty="0">
                <a:solidFill>
                  <a:srgbClr val="575757"/>
                </a:solidFill>
              </a:rPr>
              <a:t>Daños estructurales reales con un gran impacto en el crecimiento</a:t>
            </a:r>
          </a:p>
        </p:txBody>
      </p:sp>
      <p:sp>
        <p:nvSpPr>
          <p:cNvPr id="31"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s-ES" sz="1000" dirty="0">
                <a:solidFill>
                  <a:schemeClr val="bg1">
                    <a:lumMod val="50000"/>
                  </a:schemeClr>
                </a:solidFill>
                <a:latin typeface="Trebuchet MS" panose="020B0603020202020204" pitchFamily="34" charset="0"/>
                <a:cs typeface="Arial" pitchFamily="34" charset="0"/>
              </a:rPr>
              <a:t>https://hbr.org/2020/03/what-coronavirus-could-mean-for-the-global-economy</a:t>
            </a:r>
          </a:p>
          <a:p>
            <a:pPr>
              <a:lnSpc>
                <a:spcPct val="90000"/>
              </a:lnSpc>
            </a:pPr>
            <a:r>
              <a:rPr lang="es-ES" sz="1000" dirty="0">
                <a:solidFill>
                  <a:schemeClr val="bg1">
                    <a:lumMod val="50000"/>
                  </a:schemeClr>
                </a:solidFill>
                <a:latin typeface="Trebuchet MS" panose="020B0603020202020204" pitchFamily="34" charset="0"/>
                <a:cs typeface="Arial" pitchFamily="34" charset="0"/>
              </a:rPr>
              <a:t>Fuente: análisis del BCG Center for Macroeconomics</a:t>
            </a:r>
          </a:p>
        </p:txBody>
      </p:sp>
      <p:sp>
        <p:nvSpPr>
          <p:cNvPr id="47" name="TextBox 46"/>
          <p:cNvSpPr txBox="1"/>
          <p:nvPr/>
        </p:nvSpPr>
        <p:spPr>
          <a:xfrm>
            <a:off x="628650" y="3228945"/>
            <a:ext cx="960199"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s-ES" sz="1400" dirty="0">
                <a:solidFill>
                  <a:srgbClr val="575757"/>
                </a:solidFill>
              </a:rPr>
              <a:t>Nivel de PIB</a:t>
            </a:r>
          </a:p>
        </p:txBody>
      </p:sp>
      <p:sp>
        <p:nvSpPr>
          <p:cNvPr id="4" name="Freeform 3"/>
          <p:cNvSpPr/>
          <p:nvPr/>
        </p:nvSpPr>
        <p:spPr>
          <a:xfrm>
            <a:off x="864999" y="3524250"/>
            <a:ext cx="1974686" cy="533400"/>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TextBox 5"/>
          <p:cNvSpPr txBox="1"/>
          <p:nvPr/>
        </p:nvSpPr>
        <p:spPr>
          <a:xfrm>
            <a:off x="890614"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33" name="TextBox 32"/>
          <p:cNvSpPr txBox="1"/>
          <p:nvPr/>
        </p:nvSpPr>
        <p:spPr>
          <a:xfrm>
            <a:off x="1086591"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35" name="TextBox 34"/>
          <p:cNvSpPr txBox="1"/>
          <p:nvPr/>
        </p:nvSpPr>
        <p:spPr>
          <a:xfrm>
            <a:off x="1282568"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36" name="TextBox 35"/>
          <p:cNvSpPr txBox="1"/>
          <p:nvPr/>
        </p:nvSpPr>
        <p:spPr>
          <a:xfrm>
            <a:off x="1478545"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37" name="TextBox 36"/>
          <p:cNvSpPr txBox="1"/>
          <p:nvPr/>
        </p:nvSpPr>
        <p:spPr>
          <a:xfrm>
            <a:off x="1674522"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38" name="TextBox 37"/>
          <p:cNvSpPr txBox="1"/>
          <p:nvPr/>
        </p:nvSpPr>
        <p:spPr>
          <a:xfrm>
            <a:off x="1870499"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39" name="TextBox 38"/>
          <p:cNvSpPr txBox="1"/>
          <p:nvPr/>
        </p:nvSpPr>
        <p:spPr>
          <a:xfrm>
            <a:off x="2066476"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40" name="TextBox 39"/>
          <p:cNvSpPr txBox="1"/>
          <p:nvPr/>
        </p:nvSpPr>
        <p:spPr>
          <a:xfrm>
            <a:off x="2262453"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41" name="TextBox 40"/>
          <p:cNvSpPr txBox="1"/>
          <p:nvPr/>
        </p:nvSpPr>
        <p:spPr>
          <a:xfrm>
            <a:off x="2458430" y="4107241"/>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42" name="TextBox 41"/>
          <p:cNvSpPr txBox="1"/>
          <p:nvPr/>
        </p:nvSpPr>
        <p:spPr>
          <a:xfrm>
            <a:off x="2660822" y="4107241"/>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sp>
        <p:nvSpPr>
          <p:cNvPr id="43" name="TextBox 42"/>
          <p:cNvSpPr txBox="1"/>
          <p:nvPr/>
        </p:nvSpPr>
        <p:spPr>
          <a:xfrm>
            <a:off x="619032" y="3451366"/>
            <a:ext cx="211596"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120</a:t>
            </a:r>
          </a:p>
        </p:txBody>
      </p:sp>
      <p:sp>
        <p:nvSpPr>
          <p:cNvPr id="44" name="TextBox 43"/>
          <p:cNvSpPr txBox="1"/>
          <p:nvPr/>
        </p:nvSpPr>
        <p:spPr>
          <a:xfrm>
            <a:off x="619032" y="3704670"/>
            <a:ext cx="211596"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110</a:t>
            </a:r>
          </a:p>
        </p:txBody>
      </p:sp>
      <p:sp>
        <p:nvSpPr>
          <p:cNvPr id="45" name="TextBox 44"/>
          <p:cNvSpPr txBox="1"/>
          <p:nvPr/>
        </p:nvSpPr>
        <p:spPr>
          <a:xfrm>
            <a:off x="619032" y="3981877"/>
            <a:ext cx="211596"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100</a:t>
            </a:r>
          </a:p>
        </p:txBody>
      </p:sp>
      <p:cxnSp>
        <p:nvCxnSpPr>
          <p:cNvPr id="8" name="Straight Connector 7"/>
          <p:cNvCxnSpPr/>
          <p:nvPr/>
        </p:nvCxnSpPr>
        <p:spPr>
          <a:xfrm>
            <a:off x="857150" y="3536650"/>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57150" y="3805476"/>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 name="Freeform 8"/>
          <p:cNvSpPr/>
          <p:nvPr/>
        </p:nvSpPr>
        <p:spPr>
          <a:xfrm>
            <a:off x="955261" y="3474659"/>
            <a:ext cx="1792045" cy="540776"/>
          </a:xfrm>
          <a:custGeom>
            <a:avLst/>
            <a:gdLst>
              <a:gd name="connsiteX0" fmla="*/ 0 w 1803291"/>
              <a:gd name="connsiteY0" fmla="*/ 510180 h 510180"/>
              <a:gd name="connsiteX1" fmla="*/ 600443 w 1803291"/>
              <a:gd name="connsiteY1" fmla="*/ 339466 h 510180"/>
              <a:gd name="connsiteX2" fmla="*/ 800591 w 1803291"/>
              <a:gd name="connsiteY2" fmla="*/ 398333 h 510180"/>
              <a:gd name="connsiteX3" fmla="*/ 1004663 w 1803291"/>
              <a:gd name="connsiteY3" fmla="*/ 221732 h 510180"/>
              <a:gd name="connsiteX4" fmla="*/ 1803291 w 1803291"/>
              <a:gd name="connsiteY4" fmla="*/ 0 h 510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3291" h="510180">
                <a:moveTo>
                  <a:pt x="0" y="510180"/>
                </a:moveTo>
                <a:lnTo>
                  <a:pt x="600443" y="339466"/>
                </a:lnTo>
                <a:lnTo>
                  <a:pt x="800591" y="398333"/>
                </a:lnTo>
                <a:lnTo>
                  <a:pt x="1004663" y="221732"/>
                </a:lnTo>
                <a:lnTo>
                  <a:pt x="1803291" y="0"/>
                </a:lnTo>
              </a:path>
            </a:pathLst>
          </a:custGeom>
          <a:no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TextBox 93"/>
          <p:cNvSpPr txBox="1"/>
          <p:nvPr/>
        </p:nvSpPr>
        <p:spPr>
          <a:xfrm>
            <a:off x="628650" y="4461375"/>
            <a:ext cx="1880323"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s-ES" sz="1400" dirty="0">
                <a:solidFill>
                  <a:srgbClr val="575757"/>
                </a:solidFill>
              </a:rPr>
              <a:t>Crecimiento del PIB (%)</a:t>
            </a:r>
          </a:p>
        </p:txBody>
      </p:sp>
      <p:sp>
        <p:nvSpPr>
          <p:cNvPr id="73" name="Freeform 72"/>
          <p:cNvSpPr/>
          <p:nvPr/>
        </p:nvSpPr>
        <p:spPr>
          <a:xfrm>
            <a:off x="864999" y="4758541"/>
            <a:ext cx="1974686" cy="500350"/>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4" name="TextBox 73"/>
          <p:cNvSpPr txBox="1"/>
          <p:nvPr/>
        </p:nvSpPr>
        <p:spPr>
          <a:xfrm>
            <a:off x="890614"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75" name="TextBox 74"/>
          <p:cNvSpPr txBox="1"/>
          <p:nvPr/>
        </p:nvSpPr>
        <p:spPr>
          <a:xfrm>
            <a:off x="1086591"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76" name="TextBox 75"/>
          <p:cNvSpPr txBox="1"/>
          <p:nvPr/>
        </p:nvSpPr>
        <p:spPr>
          <a:xfrm>
            <a:off x="1282568"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77" name="TextBox 76"/>
          <p:cNvSpPr txBox="1"/>
          <p:nvPr/>
        </p:nvSpPr>
        <p:spPr>
          <a:xfrm>
            <a:off x="1478545"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78" name="TextBox 77"/>
          <p:cNvSpPr txBox="1"/>
          <p:nvPr/>
        </p:nvSpPr>
        <p:spPr>
          <a:xfrm>
            <a:off x="1674522"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79" name="TextBox 78"/>
          <p:cNvSpPr txBox="1"/>
          <p:nvPr/>
        </p:nvSpPr>
        <p:spPr>
          <a:xfrm>
            <a:off x="1870499"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80" name="TextBox 79"/>
          <p:cNvSpPr txBox="1"/>
          <p:nvPr/>
        </p:nvSpPr>
        <p:spPr>
          <a:xfrm>
            <a:off x="2066476"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81" name="TextBox 80"/>
          <p:cNvSpPr txBox="1"/>
          <p:nvPr/>
        </p:nvSpPr>
        <p:spPr>
          <a:xfrm>
            <a:off x="2262453"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82" name="TextBox 81"/>
          <p:cNvSpPr txBox="1"/>
          <p:nvPr/>
        </p:nvSpPr>
        <p:spPr>
          <a:xfrm>
            <a:off x="2458430"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83" name="TextBox 82"/>
          <p:cNvSpPr txBox="1"/>
          <p:nvPr/>
        </p:nvSpPr>
        <p:spPr>
          <a:xfrm>
            <a:off x="2660822" y="5449044"/>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sp>
        <p:nvSpPr>
          <p:cNvPr id="84" name="TextBox 83"/>
          <p:cNvSpPr txBox="1"/>
          <p:nvPr/>
        </p:nvSpPr>
        <p:spPr>
          <a:xfrm>
            <a:off x="679946" y="4685393"/>
            <a:ext cx="150682"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6%</a:t>
            </a:r>
          </a:p>
        </p:txBody>
      </p:sp>
      <p:sp>
        <p:nvSpPr>
          <p:cNvPr id="85" name="TextBox 84"/>
          <p:cNvSpPr txBox="1"/>
          <p:nvPr/>
        </p:nvSpPr>
        <p:spPr>
          <a:xfrm>
            <a:off x="679946" y="4851766"/>
            <a:ext cx="150682"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4%</a:t>
            </a:r>
          </a:p>
        </p:txBody>
      </p:sp>
      <p:sp>
        <p:nvSpPr>
          <p:cNvPr id="86" name="TextBox 85"/>
          <p:cNvSpPr txBox="1"/>
          <p:nvPr/>
        </p:nvSpPr>
        <p:spPr>
          <a:xfrm>
            <a:off x="679946" y="5198224"/>
            <a:ext cx="150682"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0%</a:t>
            </a:r>
          </a:p>
        </p:txBody>
      </p:sp>
      <p:cxnSp>
        <p:nvCxnSpPr>
          <p:cNvPr id="87" name="Straight Connector 86"/>
          <p:cNvCxnSpPr/>
          <p:nvPr/>
        </p:nvCxnSpPr>
        <p:spPr>
          <a:xfrm>
            <a:off x="857150" y="4770527"/>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57150" y="5099073"/>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857150" y="4937317"/>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79946" y="5002858"/>
            <a:ext cx="150682"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2%</a:t>
            </a:r>
          </a:p>
        </p:txBody>
      </p:sp>
      <p:sp>
        <p:nvSpPr>
          <p:cNvPr id="11" name="Freeform 10"/>
          <p:cNvSpPr/>
          <p:nvPr/>
        </p:nvSpPr>
        <p:spPr>
          <a:xfrm>
            <a:off x="953299" y="4768332"/>
            <a:ext cx="1767627" cy="673046"/>
          </a:xfrm>
          <a:custGeom>
            <a:avLst/>
            <a:gdLst>
              <a:gd name="connsiteX0" fmla="*/ 0 w 1809178"/>
              <a:gd name="connsiteY0" fmla="*/ 333580 h 673046"/>
              <a:gd name="connsiteX1" fmla="*/ 606330 w 1809178"/>
              <a:gd name="connsiteY1" fmla="*/ 333580 h 673046"/>
              <a:gd name="connsiteX2" fmla="*/ 808439 w 1809178"/>
              <a:gd name="connsiteY2" fmla="*/ 673046 h 673046"/>
              <a:gd name="connsiteX3" fmla="*/ 1006625 w 1809178"/>
              <a:gd name="connsiteY3" fmla="*/ 0 h 673046"/>
              <a:gd name="connsiteX4" fmla="*/ 1210697 w 1809178"/>
              <a:gd name="connsiteY4" fmla="*/ 327693 h 673046"/>
              <a:gd name="connsiteX5" fmla="*/ 1809178 w 1809178"/>
              <a:gd name="connsiteY5" fmla="*/ 327693 h 67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178" h="673046">
                <a:moveTo>
                  <a:pt x="0" y="333580"/>
                </a:moveTo>
                <a:lnTo>
                  <a:pt x="606330" y="333580"/>
                </a:lnTo>
                <a:lnTo>
                  <a:pt x="808439" y="673046"/>
                </a:lnTo>
                <a:lnTo>
                  <a:pt x="1006625" y="0"/>
                </a:lnTo>
                <a:lnTo>
                  <a:pt x="1210697" y="327693"/>
                </a:lnTo>
                <a:lnTo>
                  <a:pt x="1809178" y="327693"/>
                </a:lnTo>
              </a:path>
            </a:pathLst>
          </a:cu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2" name="TextBox 91"/>
          <p:cNvSpPr txBox="1"/>
          <p:nvPr/>
        </p:nvSpPr>
        <p:spPr>
          <a:xfrm>
            <a:off x="630253" y="5362943"/>
            <a:ext cx="200375" cy="1615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50" dirty="0">
                <a:solidFill>
                  <a:srgbClr val="575757"/>
                </a:solidFill>
              </a:rPr>
              <a:t>-2%</a:t>
            </a:r>
          </a:p>
        </p:txBody>
      </p:sp>
      <p:cxnSp>
        <p:nvCxnSpPr>
          <p:cNvPr id="93" name="Straight Connector 92"/>
          <p:cNvCxnSpPr/>
          <p:nvPr/>
        </p:nvCxnSpPr>
        <p:spPr>
          <a:xfrm>
            <a:off x="857150" y="5443734"/>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8" name="Freeform 117"/>
          <p:cNvSpPr/>
          <p:nvPr/>
        </p:nvSpPr>
        <p:spPr>
          <a:xfrm>
            <a:off x="3344725" y="3524250"/>
            <a:ext cx="1974686" cy="533400"/>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119" name="TextBox 118"/>
          <p:cNvSpPr txBox="1"/>
          <p:nvPr/>
        </p:nvSpPr>
        <p:spPr>
          <a:xfrm>
            <a:off x="3370339"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120" name="TextBox 119"/>
          <p:cNvSpPr txBox="1"/>
          <p:nvPr/>
        </p:nvSpPr>
        <p:spPr>
          <a:xfrm>
            <a:off x="3566316"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121" name="TextBox 120"/>
          <p:cNvSpPr txBox="1"/>
          <p:nvPr/>
        </p:nvSpPr>
        <p:spPr>
          <a:xfrm>
            <a:off x="3762293"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122" name="TextBox 121"/>
          <p:cNvSpPr txBox="1"/>
          <p:nvPr/>
        </p:nvSpPr>
        <p:spPr>
          <a:xfrm>
            <a:off x="3958270"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123" name="TextBox 122"/>
          <p:cNvSpPr txBox="1"/>
          <p:nvPr/>
        </p:nvSpPr>
        <p:spPr>
          <a:xfrm>
            <a:off x="4154247"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124" name="TextBox 123"/>
          <p:cNvSpPr txBox="1"/>
          <p:nvPr/>
        </p:nvSpPr>
        <p:spPr>
          <a:xfrm>
            <a:off x="4350224"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125" name="TextBox 124"/>
          <p:cNvSpPr txBox="1"/>
          <p:nvPr/>
        </p:nvSpPr>
        <p:spPr>
          <a:xfrm>
            <a:off x="4546201"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126" name="TextBox 125"/>
          <p:cNvSpPr txBox="1"/>
          <p:nvPr/>
        </p:nvSpPr>
        <p:spPr>
          <a:xfrm>
            <a:off x="4742178"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127" name="TextBox 126"/>
          <p:cNvSpPr txBox="1"/>
          <p:nvPr/>
        </p:nvSpPr>
        <p:spPr>
          <a:xfrm>
            <a:off x="4938155"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128" name="TextBox 127"/>
          <p:cNvSpPr txBox="1"/>
          <p:nvPr/>
        </p:nvSpPr>
        <p:spPr>
          <a:xfrm>
            <a:off x="5140547" y="4107240"/>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sp>
        <p:nvSpPr>
          <p:cNvPr id="129" name="TextBox 128"/>
          <p:cNvSpPr txBox="1"/>
          <p:nvPr/>
        </p:nvSpPr>
        <p:spPr>
          <a:xfrm>
            <a:off x="3108376" y="3455212"/>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20</a:t>
            </a:r>
          </a:p>
        </p:txBody>
      </p:sp>
      <p:sp>
        <p:nvSpPr>
          <p:cNvPr id="130" name="TextBox 129"/>
          <p:cNvSpPr txBox="1"/>
          <p:nvPr/>
        </p:nvSpPr>
        <p:spPr>
          <a:xfrm>
            <a:off x="3108376" y="3708516"/>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10</a:t>
            </a:r>
          </a:p>
        </p:txBody>
      </p:sp>
      <p:sp>
        <p:nvSpPr>
          <p:cNvPr id="131" name="TextBox 130"/>
          <p:cNvSpPr txBox="1"/>
          <p:nvPr/>
        </p:nvSpPr>
        <p:spPr>
          <a:xfrm>
            <a:off x="3108376" y="3985723"/>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00</a:t>
            </a:r>
          </a:p>
        </p:txBody>
      </p:sp>
      <p:cxnSp>
        <p:nvCxnSpPr>
          <p:cNvPr id="132" name="Straight Connector 131"/>
          <p:cNvCxnSpPr/>
          <p:nvPr/>
        </p:nvCxnSpPr>
        <p:spPr>
          <a:xfrm>
            <a:off x="3336876" y="3536650"/>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3336876" y="3805476"/>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 name="Freeform 12"/>
          <p:cNvSpPr/>
          <p:nvPr/>
        </p:nvSpPr>
        <p:spPr>
          <a:xfrm>
            <a:off x="3359541" y="3578547"/>
            <a:ext cx="1885284" cy="436962"/>
          </a:xfrm>
          <a:custGeom>
            <a:avLst/>
            <a:gdLst>
              <a:gd name="connsiteX0" fmla="*/ 0 w 1790700"/>
              <a:gd name="connsiteY0" fmla="*/ 335973 h 335973"/>
              <a:gd name="connsiteX1" fmla="*/ 585355 w 1790700"/>
              <a:gd name="connsiteY1" fmla="*/ 169719 h 335973"/>
              <a:gd name="connsiteX2" fmla="*/ 796637 w 1790700"/>
              <a:gd name="connsiteY2" fmla="*/ 225137 h 335973"/>
              <a:gd name="connsiteX3" fmla="*/ 973282 w 1790700"/>
              <a:gd name="connsiteY3" fmla="*/ 225137 h 335973"/>
              <a:gd name="connsiteX4" fmla="*/ 1790700 w 1790700"/>
              <a:gd name="connsiteY4" fmla="*/ 0 h 335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700" h="335973">
                <a:moveTo>
                  <a:pt x="0" y="335973"/>
                </a:moveTo>
                <a:lnTo>
                  <a:pt x="585355" y="169719"/>
                </a:lnTo>
                <a:lnTo>
                  <a:pt x="796637" y="225137"/>
                </a:lnTo>
                <a:lnTo>
                  <a:pt x="973282" y="225137"/>
                </a:lnTo>
                <a:lnTo>
                  <a:pt x="1790700" y="0"/>
                </a:lnTo>
              </a:path>
            </a:pathLst>
          </a:custGeom>
          <a:no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98" name="TextBox 97"/>
          <p:cNvSpPr txBox="1"/>
          <p:nvPr/>
        </p:nvSpPr>
        <p:spPr>
          <a:xfrm>
            <a:off x="3325307"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99" name="TextBox 98"/>
          <p:cNvSpPr txBox="1"/>
          <p:nvPr/>
        </p:nvSpPr>
        <p:spPr>
          <a:xfrm>
            <a:off x="3521284"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100" name="TextBox 99"/>
          <p:cNvSpPr txBox="1"/>
          <p:nvPr/>
        </p:nvSpPr>
        <p:spPr>
          <a:xfrm>
            <a:off x="3717261"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101" name="TextBox 100"/>
          <p:cNvSpPr txBox="1"/>
          <p:nvPr/>
        </p:nvSpPr>
        <p:spPr>
          <a:xfrm>
            <a:off x="3913238"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102" name="TextBox 101"/>
          <p:cNvSpPr txBox="1"/>
          <p:nvPr/>
        </p:nvSpPr>
        <p:spPr>
          <a:xfrm>
            <a:off x="4109215"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103" name="TextBox 102"/>
          <p:cNvSpPr txBox="1"/>
          <p:nvPr/>
        </p:nvSpPr>
        <p:spPr>
          <a:xfrm>
            <a:off x="4305192"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104" name="TextBox 103"/>
          <p:cNvSpPr txBox="1"/>
          <p:nvPr/>
        </p:nvSpPr>
        <p:spPr>
          <a:xfrm>
            <a:off x="4501169"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105" name="TextBox 104"/>
          <p:cNvSpPr txBox="1"/>
          <p:nvPr/>
        </p:nvSpPr>
        <p:spPr>
          <a:xfrm>
            <a:off x="4697146"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106" name="TextBox 105"/>
          <p:cNvSpPr txBox="1"/>
          <p:nvPr/>
        </p:nvSpPr>
        <p:spPr>
          <a:xfrm>
            <a:off x="4893123"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107" name="TextBox 106"/>
          <p:cNvSpPr txBox="1"/>
          <p:nvPr/>
        </p:nvSpPr>
        <p:spPr>
          <a:xfrm>
            <a:off x="5095515" y="5449044"/>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grpSp>
        <p:nvGrpSpPr>
          <p:cNvPr id="3" name="Group 2"/>
          <p:cNvGrpSpPr/>
          <p:nvPr/>
        </p:nvGrpSpPr>
        <p:grpSpPr>
          <a:xfrm>
            <a:off x="3119597" y="4838593"/>
            <a:ext cx="2214831" cy="671415"/>
            <a:chOff x="3119597" y="4692821"/>
            <a:chExt cx="2214831" cy="671415"/>
          </a:xfrm>
        </p:grpSpPr>
        <p:sp>
          <p:nvSpPr>
            <p:cNvPr id="97" name="Freeform 96"/>
            <p:cNvSpPr/>
            <p:nvPr/>
          </p:nvSpPr>
          <p:spPr>
            <a:xfrm>
              <a:off x="3344725" y="4758541"/>
              <a:ext cx="1974686" cy="352632"/>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109" name="TextBox 108"/>
            <p:cNvSpPr txBox="1"/>
            <p:nvPr/>
          </p:nvSpPr>
          <p:spPr>
            <a:xfrm>
              <a:off x="3166084" y="4692821"/>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4%</a:t>
              </a:r>
            </a:p>
          </p:txBody>
        </p:sp>
        <p:sp>
          <p:nvSpPr>
            <p:cNvPr id="110" name="TextBox 109"/>
            <p:cNvSpPr txBox="1"/>
            <p:nvPr/>
          </p:nvSpPr>
          <p:spPr>
            <a:xfrm>
              <a:off x="3166084" y="5039279"/>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0%</a:t>
              </a:r>
            </a:p>
          </p:txBody>
        </p:sp>
        <p:cxnSp>
          <p:nvCxnSpPr>
            <p:cNvPr id="111" name="Straight Connector 110"/>
            <p:cNvCxnSpPr/>
            <p:nvPr/>
          </p:nvCxnSpPr>
          <p:spPr>
            <a:xfrm>
              <a:off x="3336876" y="4770527"/>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3336876" y="5287293"/>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336876" y="4937317"/>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3166084" y="4843913"/>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2%</a:t>
              </a:r>
            </a:p>
          </p:txBody>
        </p:sp>
        <p:sp>
          <p:nvSpPr>
            <p:cNvPr id="116" name="TextBox 115"/>
            <p:cNvSpPr txBox="1"/>
            <p:nvPr/>
          </p:nvSpPr>
          <p:spPr>
            <a:xfrm>
              <a:off x="3119597" y="5210348"/>
              <a:ext cx="190757"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2%</a:t>
              </a:r>
            </a:p>
          </p:txBody>
        </p:sp>
        <p:sp>
          <p:nvSpPr>
            <p:cNvPr id="14" name="Freeform 13"/>
            <p:cNvSpPr/>
            <p:nvPr/>
          </p:nvSpPr>
          <p:spPr>
            <a:xfrm>
              <a:off x="3385705" y="4948382"/>
              <a:ext cx="1827645" cy="335973"/>
            </a:xfrm>
            <a:custGeom>
              <a:avLst/>
              <a:gdLst>
                <a:gd name="connsiteX0" fmla="*/ 0 w 1797627"/>
                <a:gd name="connsiteY0" fmla="*/ 6927 h 335973"/>
                <a:gd name="connsiteX1" fmla="*/ 602672 w 1797627"/>
                <a:gd name="connsiteY1" fmla="*/ 6927 h 335973"/>
                <a:gd name="connsiteX2" fmla="*/ 803563 w 1797627"/>
                <a:gd name="connsiteY2" fmla="*/ 335973 h 335973"/>
                <a:gd name="connsiteX3" fmla="*/ 1188027 w 1797627"/>
                <a:gd name="connsiteY3" fmla="*/ 0 h 335973"/>
                <a:gd name="connsiteX4" fmla="*/ 1797627 w 1797627"/>
                <a:gd name="connsiteY4" fmla="*/ 0 h 335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27" h="335973">
                  <a:moveTo>
                    <a:pt x="0" y="6927"/>
                  </a:moveTo>
                  <a:lnTo>
                    <a:pt x="602672" y="6927"/>
                  </a:lnTo>
                  <a:lnTo>
                    <a:pt x="803563" y="335973"/>
                  </a:lnTo>
                  <a:lnTo>
                    <a:pt x="1188027" y="0"/>
                  </a:lnTo>
                  <a:lnTo>
                    <a:pt x="1797627" y="0"/>
                  </a:lnTo>
                </a:path>
              </a:pathLst>
            </a:cu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grpSp>
      <p:sp>
        <p:nvSpPr>
          <p:cNvPr id="159" name="TextBox 158"/>
          <p:cNvSpPr txBox="1"/>
          <p:nvPr/>
        </p:nvSpPr>
        <p:spPr>
          <a:xfrm>
            <a:off x="5852422"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160" name="TextBox 159"/>
          <p:cNvSpPr txBox="1"/>
          <p:nvPr/>
        </p:nvSpPr>
        <p:spPr>
          <a:xfrm>
            <a:off x="6048399"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161" name="TextBox 160"/>
          <p:cNvSpPr txBox="1"/>
          <p:nvPr/>
        </p:nvSpPr>
        <p:spPr>
          <a:xfrm>
            <a:off x="6244376"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162" name="TextBox 161"/>
          <p:cNvSpPr txBox="1"/>
          <p:nvPr/>
        </p:nvSpPr>
        <p:spPr>
          <a:xfrm>
            <a:off x="6440353"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163" name="TextBox 162"/>
          <p:cNvSpPr txBox="1"/>
          <p:nvPr/>
        </p:nvSpPr>
        <p:spPr>
          <a:xfrm>
            <a:off x="6636330"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164" name="TextBox 163"/>
          <p:cNvSpPr txBox="1"/>
          <p:nvPr/>
        </p:nvSpPr>
        <p:spPr>
          <a:xfrm>
            <a:off x="6832307"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165" name="TextBox 164"/>
          <p:cNvSpPr txBox="1"/>
          <p:nvPr/>
        </p:nvSpPr>
        <p:spPr>
          <a:xfrm>
            <a:off x="7028284"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166" name="TextBox 165"/>
          <p:cNvSpPr txBox="1"/>
          <p:nvPr/>
        </p:nvSpPr>
        <p:spPr>
          <a:xfrm>
            <a:off x="7224261"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167" name="TextBox 166"/>
          <p:cNvSpPr txBox="1"/>
          <p:nvPr/>
        </p:nvSpPr>
        <p:spPr>
          <a:xfrm>
            <a:off x="7420238" y="4107240"/>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168" name="TextBox 167"/>
          <p:cNvSpPr txBox="1"/>
          <p:nvPr/>
        </p:nvSpPr>
        <p:spPr>
          <a:xfrm>
            <a:off x="7622630" y="4107240"/>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sp>
        <p:nvSpPr>
          <p:cNvPr id="158" name="Freeform 157"/>
          <p:cNvSpPr/>
          <p:nvPr/>
        </p:nvSpPr>
        <p:spPr>
          <a:xfrm>
            <a:off x="5826808" y="3609093"/>
            <a:ext cx="1974686" cy="442768"/>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169" name="TextBox 168"/>
          <p:cNvSpPr txBox="1"/>
          <p:nvPr/>
        </p:nvSpPr>
        <p:spPr>
          <a:xfrm>
            <a:off x="5590459" y="3540055"/>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15</a:t>
            </a:r>
          </a:p>
        </p:txBody>
      </p:sp>
      <p:sp>
        <p:nvSpPr>
          <p:cNvPr id="170" name="TextBox 169"/>
          <p:cNvSpPr txBox="1"/>
          <p:nvPr/>
        </p:nvSpPr>
        <p:spPr>
          <a:xfrm>
            <a:off x="5590459" y="3694747"/>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10</a:t>
            </a:r>
          </a:p>
        </p:txBody>
      </p:sp>
      <p:sp>
        <p:nvSpPr>
          <p:cNvPr id="171" name="TextBox 170"/>
          <p:cNvSpPr txBox="1"/>
          <p:nvPr/>
        </p:nvSpPr>
        <p:spPr>
          <a:xfrm>
            <a:off x="5590459" y="3967472"/>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00</a:t>
            </a:r>
          </a:p>
        </p:txBody>
      </p:sp>
      <p:cxnSp>
        <p:nvCxnSpPr>
          <p:cNvPr id="172" name="Straight Connector 171"/>
          <p:cNvCxnSpPr/>
          <p:nvPr/>
        </p:nvCxnSpPr>
        <p:spPr>
          <a:xfrm>
            <a:off x="5818959" y="3621493"/>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5818959" y="3917213"/>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Freeform 14"/>
          <p:cNvSpPr/>
          <p:nvPr/>
        </p:nvSpPr>
        <p:spPr>
          <a:xfrm>
            <a:off x="5927587" y="3733207"/>
            <a:ext cx="1801091" cy="266700"/>
          </a:xfrm>
          <a:custGeom>
            <a:avLst/>
            <a:gdLst>
              <a:gd name="connsiteX0" fmla="*/ 0 w 1801091"/>
              <a:gd name="connsiteY0" fmla="*/ 266700 h 266700"/>
              <a:gd name="connsiteX1" fmla="*/ 599209 w 1801091"/>
              <a:gd name="connsiteY1" fmla="*/ 90054 h 266700"/>
              <a:gd name="connsiteX2" fmla="*/ 789709 w 1801091"/>
              <a:gd name="connsiteY2" fmla="*/ 148936 h 266700"/>
              <a:gd name="connsiteX3" fmla="*/ 1801091 w 1801091"/>
              <a:gd name="connsiteY3" fmla="*/ 0 h 266700"/>
            </a:gdLst>
            <a:ahLst/>
            <a:cxnLst>
              <a:cxn ang="0">
                <a:pos x="connsiteX0" y="connsiteY0"/>
              </a:cxn>
              <a:cxn ang="0">
                <a:pos x="connsiteX1" y="connsiteY1"/>
              </a:cxn>
              <a:cxn ang="0">
                <a:pos x="connsiteX2" y="connsiteY2"/>
              </a:cxn>
              <a:cxn ang="0">
                <a:pos x="connsiteX3" y="connsiteY3"/>
              </a:cxn>
            </a:cxnLst>
            <a:rect l="l" t="t" r="r" b="b"/>
            <a:pathLst>
              <a:path w="1801091" h="266700">
                <a:moveTo>
                  <a:pt x="0" y="266700"/>
                </a:moveTo>
                <a:lnTo>
                  <a:pt x="599209" y="90054"/>
                </a:lnTo>
                <a:lnTo>
                  <a:pt x="789709" y="148936"/>
                </a:lnTo>
                <a:lnTo>
                  <a:pt x="1801091" y="0"/>
                </a:lnTo>
              </a:path>
            </a:pathLst>
          </a:custGeom>
          <a:no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177" name="TextBox 176"/>
          <p:cNvSpPr txBox="1"/>
          <p:nvPr/>
        </p:nvSpPr>
        <p:spPr>
          <a:xfrm>
            <a:off x="5590459" y="3831459"/>
            <a:ext cx="20197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105</a:t>
            </a:r>
          </a:p>
        </p:txBody>
      </p:sp>
      <p:cxnSp>
        <p:nvCxnSpPr>
          <p:cNvPr id="178" name="Straight Connector 177"/>
          <p:cNvCxnSpPr/>
          <p:nvPr/>
        </p:nvCxnSpPr>
        <p:spPr>
          <a:xfrm>
            <a:off x="5818959" y="3771651"/>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5852422"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T</a:t>
            </a:r>
          </a:p>
        </p:txBody>
      </p:sp>
      <p:sp>
        <p:nvSpPr>
          <p:cNvPr id="139" name="TextBox 138"/>
          <p:cNvSpPr txBox="1"/>
          <p:nvPr/>
        </p:nvSpPr>
        <p:spPr>
          <a:xfrm>
            <a:off x="6048399"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2T</a:t>
            </a:r>
          </a:p>
        </p:txBody>
      </p:sp>
      <p:sp>
        <p:nvSpPr>
          <p:cNvPr id="140" name="TextBox 139"/>
          <p:cNvSpPr txBox="1"/>
          <p:nvPr/>
        </p:nvSpPr>
        <p:spPr>
          <a:xfrm>
            <a:off x="6244376"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3T</a:t>
            </a:r>
          </a:p>
        </p:txBody>
      </p:sp>
      <p:sp>
        <p:nvSpPr>
          <p:cNvPr id="141" name="TextBox 140"/>
          <p:cNvSpPr txBox="1"/>
          <p:nvPr/>
        </p:nvSpPr>
        <p:spPr>
          <a:xfrm>
            <a:off x="6440353"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4T</a:t>
            </a:r>
          </a:p>
        </p:txBody>
      </p:sp>
      <p:sp>
        <p:nvSpPr>
          <p:cNvPr id="142" name="TextBox 141"/>
          <p:cNvSpPr txBox="1"/>
          <p:nvPr/>
        </p:nvSpPr>
        <p:spPr>
          <a:xfrm>
            <a:off x="6636330"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5T</a:t>
            </a:r>
          </a:p>
        </p:txBody>
      </p:sp>
      <p:sp>
        <p:nvSpPr>
          <p:cNvPr id="143" name="TextBox 142"/>
          <p:cNvSpPr txBox="1"/>
          <p:nvPr/>
        </p:nvSpPr>
        <p:spPr>
          <a:xfrm>
            <a:off x="6832307"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6T</a:t>
            </a:r>
          </a:p>
        </p:txBody>
      </p:sp>
      <p:sp>
        <p:nvSpPr>
          <p:cNvPr id="144" name="TextBox 143"/>
          <p:cNvSpPr txBox="1"/>
          <p:nvPr/>
        </p:nvSpPr>
        <p:spPr>
          <a:xfrm>
            <a:off x="7028284"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7T</a:t>
            </a:r>
          </a:p>
        </p:txBody>
      </p:sp>
      <p:sp>
        <p:nvSpPr>
          <p:cNvPr id="145" name="TextBox 144"/>
          <p:cNvSpPr txBox="1"/>
          <p:nvPr/>
        </p:nvSpPr>
        <p:spPr>
          <a:xfrm>
            <a:off x="7224261"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8T</a:t>
            </a:r>
          </a:p>
        </p:txBody>
      </p:sp>
      <p:sp>
        <p:nvSpPr>
          <p:cNvPr id="146" name="TextBox 145"/>
          <p:cNvSpPr txBox="1"/>
          <p:nvPr/>
        </p:nvSpPr>
        <p:spPr>
          <a:xfrm>
            <a:off x="7420238" y="5449044"/>
            <a:ext cx="14106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9T</a:t>
            </a:r>
          </a:p>
        </p:txBody>
      </p:sp>
      <p:sp>
        <p:nvSpPr>
          <p:cNvPr id="147" name="TextBox 146"/>
          <p:cNvSpPr txBox="1"/>
          <p:nvPr/>
        </p:nvSpPr>
        <p:spPr>
          <a:xfrm>
            <a:off x="7622630" y="5449044"/>
            <a:ext cx="2083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s-ES" sz="1000" dirty="0">
                <a:solidFill>
                  <a:srgbClr val="575757"/>
                </a:solidFill>
              </a:rPr>
              <a:t>10T</a:t>
            </a:r>
          </a:p>
        </p:txBody>
      </p:sp>
      <p:grpSp>
        <p:nvGrpSpPr>
          <p:cNvPr id="7" name="Group 6"/>
          <p:cNvGrpSpPr/>
          <p:nvPr/>
        </p:nvGrpSpPr>
        <p:grpSpPr>
          <a:xfrm>
            <a:off x="5606907" y="4844943"/>
            <a:ext cx="2214832" cy="665065"/>
            <a:chOff x="5606907" y="4625913"/>
            <a:chExt cx="2214832" cy="665065"/>
          </a:xfrm>
        </p:grpSpPr>
        <p:sp>
          <p:nvSpPr>
            <p:cNvPr id="179" name="Freeform 178"/>
            <p:cNvSpPr/>
            <p:nvPr/>
          </p:nvSpPr>
          <p:spPr>
            <a:xfrm>
              <a:off x="5832035" y="4691632"/>
              <a:ext cx="1974686" cy="362967"/>
            </a:xfrm>
            <a:custGeom>
              <a:avLst/>
              <a:gdLst>
                <a:gd name="connsiteX0" fmla="*/ 0 w 2082800"/>
                <a:gd name="connsiteY0" fmla="*/ 0 h 533400"/>
                <a:gd name="connsiteX1" fmla="*/ 0 w 2082800"/>
                <a:gd name="connsiteY1" fmla="*/ 533400 h 533400"/>
                <a:gd name="connsiteX2" fmla="*/ 2082800 w 2082800"/>
                <a:gd name="connsiteY2" fmla="*/ 533400 h 533400"/>
              </a:gdLst>
              <a:ahLst/>
              <a:cxnLst>
                <a:cxn ang="0">
                  <a:pos x="connsiteX0" y="connsiteY0"/>
                </a:cxn>
                <a:cxn ang="0">
                  <a:pos x="connsiteX1" y="connsiteY1"/>
                </a:cxn>
                <a:cxn ang="0">
                  <a:pos x="connsiteX2" y="connsiteY2"/>
                </a:cxn>
              </a:cxnLst>
              <a:rect l="l" t="t" r="r" b="b"/>
              <a:pathLst>
                <a:path w="2082800" h="533400">
                  <a:moveTo>
                    <a:pt x="0" y="0"/>
                  </a:moveTo>
                  <a:lnTo>
                    <a:pt x="0" y="533400"/>
                  </a:lnTo>
                  <a:lnTo>
                    <a:pt x="2082800" y="533400"/>
                  </a:lnTo>
                </a:path>
              </a:pathLst>
            </a:custGeom>
            <a:no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sp>
          <p:nvSpPr>
            <p:cNvPr id="180" name="TextBox 179"/>
            <p:cNvSpPr txBox="1"/>
            <p:nvPr/>
          </p:nvSpPr>
          <p:spPr>
            <a:xfrm>
              <a:off x="5653394" y="4625913"/>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4%</a:t>
              </a:r>
            </a:p>
          </p:txBody>
        </p:sp>
        <p:sp>
          <p:nvSpPr>
            <p:cNvPr id="181" name="TextBox 180"/>
            <p:cNvSpPr txBox="1"/>
            <p:nvPr/>
          </p:nvSpPr>
          <p:spPr>
            <a:xfrm>
              <a:off x="5653394" y="4972371"/>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0%</a:t>
              </a:r>
            </a:p>
          </p:txBody>
        </p:sp>
        <p:cxnSp>
          <p:nvCxnSpPr>
            <p:cNvPr id="182" name="Straight Connector 181"/>
            <p:cNvCxnSpPr/>
            <p:nvPr/>
          </p:nvCxnSpPr>
          <p:spPr>
            <a:xfrm>
              <a:off x="5824186" y="4703619"/>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5824186" y="4870409"/>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5653394" y="4777005"/>
              <a:ext cx="14427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2%</a:t>
              </a:r>
            </a:p>
          </p:txBody>
        </p:sp>
        <p:sp>
          <p:nvSpPr>
            <p:cNvPr id="186" name="TextBox 185"/>
            <p:cNvSpPr txBox="1"/>
            <p:nvPr/>
          </p:nvSpPr>
          <p:spPr>
            <a:xfrm>
              <a:off x="5606907" y="5137090"/>
              <a:ext cx="190757"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s-ES" sz="1000" dirty="0">
                  <a:solidFill>
                    <a:srgbClr val="575757"/>
                  </a:solidFill>
                </a:rPr>
                <a:t>-2%</a:t>
              </a:r>
            </a:p>
          </p:txBody>
        </p:sp>
        <p:sp>
          <p:nvSpPr>
            <p:cNvPr id="16" name="Freeform 15"/>
            <p:cNvSpPr/>
            <p:nvPr/>
          </p:nvSpPr>
          <p:spPr>
            <a:xfrm>
              <a:off x="5931051" y="4879109"/>
              <a:ext cx="1787236" cy="353291"/>
            </a:xfrm>
            <a:custGeom>
              <a:avLst/>
              <a:gdLst>
                <a:gd name="connsiteX0" fmla="*/ 0 w 1787236"/>
                <a:gd name="connsiteY0" fmla="*/ 0 h 353291"/>
                <a:gd name="connsiteX1" fmla="*/ 592282 w 1787236"/>
                <a:gd name="connsiteY1" fmla="*/ 0 h 353291"/>
                <a:gd name="connsiteX2" fmla="*/ 796636 w 1787236"/>
                <a:gd name="connsiteY2" fmla="*/ 353291 h 353291"/>
                <a:gd name="connsiteX3" fmla="*/ 997527 w 1787236"/>
                <a:gd name="connsiteY3" fmla="*/ 79664 h 353291"/>
                <a:gd name="connsiteX4" fmla="*/ 1787236 w 1787236"/>
                <a:gd name="connsiteY4" fmla="*/ 79664 h 353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236" h="353291">
                  <a:moveTo>
                    <a:pt x="0" y="0"/>
                  </a:moveTo>
                  <a:lnTo>
                    <a:pt x="592282" y="0"/>
                  </a:lnTo>
                  <a:lnTo>
                    <a:pt x="796636" y="353291"/>
                  </a:lnTo>
                  <a:lnTo>
                    <a:pt x="997527" y="79664"/>
                  </a:lnTo>
                  <a:lnTo>
                    <a:pt x="1787236" y="79664"/>
                  </a:lnTo>
                </a:path>
              </a:pathLst>
            </a:custGeom>
            <a:noFill/>
            <a:ln w="1905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100" dirty="0"/>
            </a:p>
          </p:txBody>
        </p:sp>
        <p:cxnSp>
          <p:nvCxnSpPr>
            <p:cNvPr id="190" name="Straight Connector 189"/>
            <p:cNvCxnSpPr/>
            <p:nvPr/>
          </p:nvCxnSpPr>
          <p:spPr>
            <a:xfrm>
              <a:off x="5824187" y="5230143"/>
              <a:ext cx="199755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511583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14="http://schemas.microsoft.com/office/drawing/2010/main" xmlns:v="urn:schemas-microsoft-com:vml"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704248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L"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 name="ee4pContent1"/>
          <p:cNvSpPr txBox="1"/>
          <p:nvPr/>
        </p:nvSpPr>
        <p:spPr>
          <a:xfrm>
            <a:off x="4464626" y="1948128"/>
            <a:ext cx="3218424" cy="124745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s-CL" dirty="0">
                <a:solidFill>
                  <a:srgbClr val="29BA74"/>
                </a:solidFill>
                <a:latin typeface="+mn-lt"/>
              </a:rPr>
              <a:t>Lecciones aprendidas</a:t>
            </a:r>
          </a:p>
          <a:p>
            <a:pPr lvl="1">
              <a:buClr>
                <a:schemeClr val="tx2">
                  <a:lumMod val="100000"/>
                </a:schemeClr>
              </a:buClr>
              <a:buSzPct val="100000"/>
            </a:pPr>
            <a:r>
              <a:rPr lang="es-CL" sz="1600" dirty="0">
                <a:solidFill>
                  <a:schemeClr val="tx1">
                    <a:lumMod val="100000"/>
                  </a:schemeClr>
                </a:solidFill>
              </a:rPr>
              <a:t>Gestión de crisis</a:t>
            </a:r>
          </a:p>
          <a:p>
            <a:pPr lvl="1">
              <a:buClr>
                <a:schemeClr val="tx2">
                  <a:lumMod val="100000"/>
                </a:schemeClr>
              </a:buClr>
              <a:buSzPct val="100000"/>
            </a:pPr>
            <a:r>
              <a:rPr lang="es-CL" sz="1600" dirty="0">
                <a:solidFill>
                  <a:schemeClr val="tx1">
                    <a:lumMod val="100000"/>
                  </a:schemeClr>
                </a:solidFill>
              </a:rPr>
              <a:t>Planificación de escenarios</a:t>
            </a:r>
          </a:p>
          <a:p>
            <a:pPr lvl="1">
              <a:buClr>
                <a:schemeClr val="tx2">
                  <a:lumMod val="100000"/>
                </a:schemeClr>
              </a:buClr>
              <a:buSzPct val="100000"/>
            </a:pPr>
            <a:r>
              <a:rPr lang="es-CL" sz="1600" dirty="0">
                <a:solidFill>
                  <a:schemeClr val="tx1">
                    <a:lumMod val="100000"/>
                  </a:schemeClr>
                </a:solidFill>
              </a:rPr>
              <a:t>Resiliencia de cadena </a:t>
            </a:r>
            <a:br>
              <a:rPr lang="es-CL" sz="1600" dirty="0">
                <a:solidFill>
                  <a:schemeClr val="tx1">
                    <a:lumMod val="100000"/>
                  </a:schemeClr>
                </a:solidFill>
              </a:rPr>
            </a:br>
            <a:r>
              <a:rPr lang="es-CL" sz="1600" dirty="0">
                <a:solidFill>
                  <a:schemeClr val="tx1">
                    <a:lumMod val="100000"/>
                  </a:schemeClr>
                </a:solidFill>
              </a:rPr>
              <a:t>de suministros</a:t>
            </a:r>
          </a:p>
        </p:txBody>
      </p:sp>
      <p:sp>
        <p:nvSpPr>
          <p:cNvPr id="5" name="ee4pContent2"/>
          <p:cNvSpPr txBox="1"/>
          <p:nvPr/>
        </p:nvSpPr>
        <p:spPr>
          <a:xfrm>
            <a:off x="8389358" y="1948128"/>
            <a:ext cx="3218424" cy="124745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s-CL" dirty="0">
                <a:solidFill>
                  <a:srgbClr val="29BA74"/>
                </a:solidFill>
                <a:latin typeface="+mn-lt"/>
              </a:rPr>
              <a:t>Cambios de consumo</a:t>
            </a:r>
          </a:p>
          <a:p>
            <a:pPr lvl="1">
              <a:buClr>
                <a:schemeClr val="tx2">
                  <a:lumMod val="100000"/>
                </a:schemeClr>
              </a:buClr>
              <a:buSzPct val="100000"/>
            </a:pPr>
            <a:r>
              <a:rPr lang="es-CL" sz="1600" dirty="0">
                <a:solidFill>
                  <a:schemeClr val="tx1">
                    <a:lumMod val="100000"/>
                  </a:schemeClr>
                </a:solidFill>
              </a:rPr>
              <a:t>Salud e higiene</a:t>
            </a:r>
          </a:p>
          <a:p>
            <a:pPr lvl="1">
              <a:buClr>
                <a:schemeClr val="tx2">
                  <a:lumMod val="100000"/>
                </a:schemeClr>
              </a:buClr>
              <a:buSzPct val="100000"/>
            </a:pPr>
            <a:r>
              <a:rPr lang="es-CL" sz="1600" dirty="0">
                <a:solidFill>
                  <a:schemeClr val="tx1">
                    <a:lumMod val="100000"/>
                  </a:schemeClr>
                </a:solidFill>
              </a:rPr>
              <a:t>Compras </a:t>
            </a:r>
            <a:r>
              <a:rPr lang="es-CL" sz="1600" i="1" dirty="0">
                <a:solidFill>
                  <a:schemeClr val="tx1">
                    <a:lumMod val="100000"/>
                  </a:schemeClr>
                </a:solidFill>
              </a:rPr>
              <a:t>online</a:t>
            </a:r>
          </a:p>
          <a:p>
            <a:pPr lvl="1">
              <a:buClr>
                <a:schemeClr val="tx2">
                  <a:lumMod val="100000"/>
                </a:schemeClr>
              </a:buClr>
              <a:buSzPct val="100000"/>
            </a:pPr>
            <a:r>
              <a:rPr lang="es-CL" sz="1600" dirty="0">
                <a:solidFill>
                  <a:schemeClr val="tx1">
                    <a:lumMod val="100000"/>
                  </a:schemeClr>
                </a:solidFill>
              </a:rPr>
              <a:t>Nuevas maneras de comunicarnos</a:t>
            </a:r>
          </a:p>
        </p:txBody>
      </p:sp>
      <p:sp>
        <p:nvSpPr>
          <p:cNvPr id="3" name="Title 2"/>
          <p:cNvSpPr>
            <a:spLocks noGrp="1"/>
          </p:cNvSpPr>
          <p:nvPr>
            <p:ph type="title"/>
          </p:nvPr>
        </p:nvSpPr>
        <p:spPr/>
        <p:txBody>
          <a:bodyPr/>
          <a:lstStyle/>
          <a:p>
            <a:r>
              <a:rPr lang="es-CL" dirty="0">
                <a:solidFill>
                  <a:srgbClr val="D4DF33"/>
                </a:solidFill>
              </a:rPr>
              <a:t>Post crisis:</a:t>
            </a:r>
            <a:r>
              <a:rPr lang="es-CL" dirty="0"/>
              <a:t/>
            </a:r>
            <a:br>
              <a:rPr lang="es-CL" dirty="0"/>
            </a:br>
            <a:r>
              <a:rPr lang="es-CL" dirty="0"/>
              <a:t>¿Qué cambiará cuando termine la epidemia? </a:t>
            </a:r>
          </a:p>
        </p:txBody>
      </p:sp>
      <p:sp>
        <p:nvSpPr>
          <p:cNvPr id="7" name="ee4pContent1"/>
          <p:cNvSpPr txBox="1"/>
          <p:nvPr/>
        </p:nvSpPr>
        <p:spPr>
          <a:xfrm>
            <a:off x="4464626" y="5134089"/>
            <a:ext cx="3218424" cy="124745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s-CL" dirty="0">
                <a:solidFill>
                  <a:srgbClr val="29BA74"/>
                </a:solidFill>
                <a:latin typeface="+mn-lt"/>
              </a:rPr>
              <a:t>Nuevos comportamientos</a:t>
            </a:r>
          </a:p>
          <a:p>
            <a:pPr lvl="1">
              <a:buClr>
                <a:schemeClr val="tx2">
                  <a:lumMod val="100000"/>
                </a:schemeClr>
              </a:buClr>
              <a:buSzPct val="100000"/>
            </a:pPr>
            <a:r>
              <a:rPr lang="es-CL" sz="1600" dirty="0">
                <a:solidFill>
                  <a:schemeClr val="tx1">
                    <a:lumMod val="100000"/>
                  </a:schemeClr>
                </a:solidFill>
              </a:rPr>
              <a:t>Trabajo remoto</a:t>
            </a:r>
          </a:p>
          <a:p>
            <a:pPr lvl="1">
              <a:buClr>
                <a:schemeClr val="tx2">
                  <a:lumMod val="100000"/>
                </a:schemeClr>
              </a:buClr>
              <a:buSzPct val="100000"/>
            </a:pPr>
            <a:r>
              <a:rPr lang="es-CL" sz="1600" dirty="0">
                <a:solidFill>
                  <a:schemeClr val="tx1">
                    <a:lumMod val="100000"/>
                  </a:schemeClr>
                </a:solidFill>
              </a:rPr>
              <a:t>Entrenamiento a distancia</a:t>
            </a:r>
          </a:p>
          <a:p>
            <a:pPr lvl="1">
              <a:buClr>
                <a:schemeClr val="tx2">
                  <a:lumMod val="100000"/>
                </a:schemeClr>
              </a:buClr>
              <a:buSzPct val="100000"/>
            </a:pPr>
            <a:r>
              <a:rPr lang="es-CL" sz="1600" dirty="0">
                <a:solidFill>
                  <a:schemeClr val="tx1">
                    <a:lumMod val="100000"/>
                  </a:schemeClr>
                </a:solidFill>
              </a:rPr>
              <a:t>Reducción de viajes</a:t>
            </a:r>
          </a:p>
        </p:txBody>
      </p:sp>
      <p:sp>
        <p:nvSpPr>
          <p:cNvPr id="8" name="ee4pContent2"/>
          <p:cNvSpPr txBox="1"/>
          <p:nvPr/>
        </p:nvSpPr>
        <p:spPr>
          <a:xfrm>
            <a:off x="8389358" y="5134089"/>
            <a:ext cx="3218424" cy="1247457"/>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s-CL" dirty="0">
                <a:solidFill>
                  <a:srgbClr val="29BA74"/>
                </a:solidFill>
                <a:latin typeface="+mn-lt"/>
              </a:rPr>
              <a:t>Necesidades no satisfechas</a:t>
            </a:r>
          </a:p>
          <a:p>
            <a:pPr lvl="1">
              <a:buClr>
                <a:schemeClr val="tx2">
                  <a:lumMod val="100000"/>
                </a:schemeClr>
              </a:buClr>
              <a:buSzPct val="100000"/>
            </a:pPr>
            <a:r>
              <a:rPr lang="es-CL" sz="1600" dirty="0">
                <a:solidFill>
                  <a:schemeClr val="tx1">
                    <a:lumMod val="100000"/>
                  </a:schemeClr>
                </a:solidFill>
              </a:rPr>
              <a:t>Categorías de seguros de salud</a:t>
            </a:r>
          </a:p>
          <a:p>
            <a:pPr lvl="1">
              <a:buClr>
                <a:schemeClr val="tx2">
                  <a:lumMod val="100000"/>
                </a:schemeClr>
              </a:buClr>
              <a:buSzPct val="100000"/>
            </a:pPr>
            <a:r>
              <a:rPr lang="es-CL" sz="1600" dirty="0">
                <a:solidFill>
                  <a:schemeClr val="tx1">
                    <a:lumMod val="100000"/>
                  </a:schemeClr>
                </a:solidFill>
              </a:rPr>
              <a:t>Plataformas de colaboración</a:t>
            </a:r>
          </a:p>
          <a:p>
            <a:pPr lvl="1">
              <a:buClr>
                <a:schemeClr val="tx2">
                  <a:lumMod val="100000"/>
                </a:schemeClr>
              </a:buClr>
              <a:buSzPct val="100000"/>
            </a:pPr>
            <a:r>
              <a:rPr lang="es-CL" sz="1600" dirty="0">
                <a:solidFill>
                  <a:schemeClr val="tx1">
                    <a:lumMod val="100000"/>
                  </a:schemeClr>
                </a:solidFill>
              </a:rPr>
              <a:t>Modelos de </a:t>
            </a:r>
            <a:r>
              <a:rPr lang="es-CL" sz="1600" i="1" dirty="0" err="1">
                <a:solidFill>
                  <a:schemeClr val="tx1">
                    <a:lumMod val="100000"/>
                  </a:schemeClr>
                </a:solidFill>
              </a:rPr>
              <a:t>delivery</a:t>
            </a:r>
            <a:endParaRPr lang="es-CL" sz="1600" i="1" dirty="0">
              <a:solidFill>
                <a:schemeClr val="tx1">
                  <a:lumMod val="100000"/>
                </a:schemeClr>
              </a:solidFill>
            </a:endParaRPr>
          </a:p>
        </p:txBody>
      </p:sp>
      <p:grpSp>
        <p:nvGrpSpPr>
          <p:cNvPr id="10" name="Group 9"/>
          <p:cNvGrpSpPr>
            <a:grpSpLocks noChangeAspect="1"/>
          </p:cNvGrpSpPr>
          <p:nvPr/>
        </p:nvGrpSpPr>
        <p:grpSpPr>
          <a:xfrm>
            <a:off x="5299170" y="466642"/>
            <a:ext cx="1549335" cy="1549335"/>
            <a:chOff x="5273675" y="2600325"/>
            <a:chExt cx="1644650" cy="1644650"/>
          </a:xfrm>
        </p:grpSpPr>
        <p:sp>
          <p:nvSpPr>
            <p:cNvPr id="11" name="AutoShape 3"/>
            <p:cNvSpPr>
              <a:spLocks noChangeAspect="1" noChangeArrowheads="1" noTextEdit="1"/>
            </p:cNvSpPr>
            <p:nvPr/>
          </p:nvSpPr>
          <p:spPr bwMode="auto">
            <a:xfrm>
              <a:off x="5273675" y="260032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5443538" y="2770188"/>
              <a:ext cx="1303338" cy="1303338"/>
              <a:chOff x="5443538" y="2770188"/>
              <a:chExt cx="1303338" cy="1303338"/>
            </a:xfrm>
          </p:grpSpPr>
          <p:sp>
            <p:nvSpPr>
              <p:cNvPr id="13" name="Freeform 12"/>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4" name="Freeform 13"/>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5" name="Group 14"/>
          <p:cNvGrpSpPr>
            <a:grpSpLocks noChangeAspect="1"/>
          </p:cNvGrpSpPr>
          <p:nvPr/>
        </p:nvGrpSpPr>
        <p:grpSpPr>
          <a:xfrm>
            <a:off x="9224022" y="512532"/>
            <a:ext cx="1549096" cy="1550532"/>
            <a:chOff x="5273801" y="2606040"/>
            <a:chExt cx="1644396" cy="1645920"/>
          </a:xfrm>
        </p:grpSpPr>
        <p:sp>
          <p:nvSpPr>
            <p:cNvPr id="16" name="AutoShape 18">
              <a:extLst>
                <a:ext uri="{FF2B5EF4-FFF2-40B4-BE49-F238E27FC236}">
                  <a16:creationId xmlns="" xmlns:a16="http://schemas.microsoft.com/office/drawing/2014/main" id="{F3008CC6-A508-42AA-A991-F2DF191BB63D}"/>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415152" y="2867406"/>
              <a:ext cx="1305306" cy="1111758"/>
              <a:chOff x="5415152" y="2867406"/>
              <a:chExt cx="1305306" cy="1111758"/>
            </a:xfrm>
          </p:grpSpPr>
          <p:sp>
            <p:nvSpPr>
              <p:cNvPr id="18" name="Freeform 20">
                <a:extLst>
                  <a:ext uri="{FF2B5EF4-FFF2-40B4-BE49-F238E27FC236}">
                    <a16:creationId xmlns="" xmlns:a16="http://schemas.microsoft.com/office/drawing/2014/main" id="{2ABD7B86-01EC-4002-9532-55756FAD715D}"/>
                  </a:ext>
                </a:extLst>
              </p:cNvPr>
              <p:cNvSpPr>
                <a:spLocks noEditPoints="1"/>
              </p:cNvSpPr>
              <p:nvPr/>
            </p:nvSpPr>
            <p:spPr bwMode="auto">
              <a:xfrm>
                <a:off x="5699378" y="2976753"/>
                <a:ext cx="1021080" cy="948690"/>
              </a:xfrm>
              <a:custGeom>
                <a:avLst/>
                <a:gdLst>
                  <a:gd name="T0" fmla="*/ 1431 w 1431"/>
                  <a:gd name="T1" fmla="*/ 32 h 1328"/>
                  <a:gd name="T2" fmla="*/ 1400 w 1431"/>
                  <a:gd name="T3" fmla="*/ 0 h 1328"/>
                  <a:gd name="T4" fmla="*/ 0 w 1431"/>
                  <a:gd name="T5" fmla="*/ 31 h 1328"/>
                  <a:gd name="T6" fmla="*/ 15 w 1431"/>
                  <a:gd name="T7" fmla="*/ 114 h 1328"/>
                  <a:gd name="T8" fmla="*/ 334 w 1431"/>
                  <a:gd name="T9" fmla="*/ 123 h 1328"/>
                  <a:gd name="T10" fmla="*/ 345 w 1431"/>
                  <a:gd name="T11" fmla="*/ 223 h 1328"/>
                  <a:gd name="T12" fmla="*/ 49 w 1431"/>
                  <a:gd name="T13" fmla="*/ 233 h 1328"/>
                  <a:gd name="T14" fmla="*/ 58 w 1431"/>
                  <a:gd name="T15" fmla="*/ 353 h 1328"/>
                  <a:gd name="T16" fmla="*/ 334 w 1431"/>
                  <a:gd name="T17" fmla="*/ 362 h 1328"/>
                  <a:gd name="T18" fmla="*/ 345 w 1431"/>
                  <a:gd name="T19" fmla="*/ 462 h 1328"/>
                  <a:gd name="T20" fmla="*/ 91 w 1431"/>
                  <a:gd name="T21" fmla="*/ 472 h 1328"/>
                  <a:gd name="T22" fmla="*/ 101 w 1431"/>
                  <a:gd name="T23" fmla="*/ 592 h 1328"/>
                  <a:gd name="T24" fmla="*/ 334 w 1431"/>
                  <a:gd name="T25" fmla="*/ 601 h 1328"/>
                  <a:gd name="T26" fmla="*/ 345 w 1431"/>
                  <a:gd name="T27" fmla="*/ 701 h 1328"/>
                  <a:gd name="T28" fmla="*/ 132 w 1431"/>
                  <a:gd name="T29" fmla="*/ 711 h 1328"/>
                  <a:gd name="T30" fmla="*/ 138 w 1431"/>
                  <a:gd name="T31" fmla="*/ 811 h 1328"/>
                  <a:gd name="T32" fmla="*/ 168 w 1431"/>
                  <a:gd name="T33" fmla="*/ 843 h 1328"/>
                  <a:gd name="T34" fmla="*/ 1312 w 1431"/>
                  <a:gd name="T35" fmla="*/ 811 h 1328"/>
                  <a:gd name="T36" fmla="*/ 1315 w 1431"/>
                  <a:gd name="T37" fmla="*/ 711 h 1328"/>
                  <a:gd name="T38" fmla="*/ 1102 w 1431"/>
                  <a:gd name="T39" fmla="*/ 701 h 1328"/>
                  <a:gd name="T40" fmla="*/ 1112 w 1431"/>
                  <a:gd name="T41" fmla="*/ 601 h 1328"/>
                  <a:gd name="T42" fmla="*/ 1347 w 1431"/>
                  <a:gd name="T43" fmla="*/ 592 h 1328"/>
                  <a:gd name="T44" fmla="*/ 1353 w 1431"/>
                  <a:gd name="T45" fmla="*/ 472 h 1328"/>
                  <a:gd name="T46" fmla="*/ 1102 w 1431"/>
                  <a:gd name="T47" fmla="*/ 462 h 1328"/>
                  <a:gd name="T48" fmla="*/ 1112 w 1431"/>
                  <a:gd name="T49" fmla="*/ 362 h 1328"/>
                  <a:gd name="T50" fmla="*/ 1383 w 1431"/>
                  <a:gd name="T51" fmla="*/ 353 h 1328"/>
                  <a:gd name="T52" fmla="*/ 1389 w 1431"/>
                  <a:gd name="T53" fmla="*/ 233 h 1328"/>
                  <a:gd name="T54" fmla="*/ 1102 w 1431"/>
                  <a:gd name="T55" fmla="*/ 223 h 1328"/>
                  <a:gd name="T56" fmla="*/ 1112 w 1431"/>
                  <a:gd name="T57" fmla="*/ 123 h 1328"/>
                  <a:gd name="T58" fmla="*/ 1418 w 1431"/>
                  <a:gd name="T59" fmla="*/ 114 h 1328"/>
                  <a:gd name="T60" fmla="*/ 671 w 1431"/>
                  <a:gd name="T61" fmla="*/ 123 h 1328"/>
                  <a:gd name="T62" fmla="*/ 681 w 1431"/>
                  <a:gd name="T63" fmla="*/ 223 h 1328"/>
                  <a:gd name="T64" fmla="*/ 440 w 1431"/>
                  <a:gd name="T65" fmla="*/ 233 h 1328"/>
                  <a:gd name="T66" fmla="*/ 430 w 1431"/>
                  <a:gd name="T67" fmla="*/ 133 h 1328"/>
                  <a:gd name="T68" fmla="*/ 440 w 1431"/>
                  <a:gd name="T69" fmla="*/ 362 h 1328"/>
                  <a:gd name="T70" fmla="*/ 681 w 1431"/>
                  <a:gd name="T71" fmla="*/ 372 h 1328"/>
                  <a:gd name="T72" fmla="*/ 671 w 1431"/>
                  <a:gd name="T73" fmla="*/ 472 h 1328"/>
                  <a:gd name="T74" fmla="*/ 430 w 1431"/>
                  <a:gd name="T75" fmla="*/ 462 h 1328"/>
                  <a:gd name="T76" fmla="*/ 440 w 1431"/>
                  <a:gd name="T77" fmla="*/ 362 h 1328"/>
                  <a:gd name="T78" fmla="*/ 671 w 1431"/>
                  <a:gd name="T79" fmla="*/ 601 h 1328"/>
                  <a:gd name="T80" fmla="*/ 681 w 1431"/>
                  <a:gd name="T81" fmla="*/ 701 h 1328"/>
                  <a:gd name="T82" fmla="*/ 440 w 1431"/>
                  <a:gd name="T83" fmla="*/ 711 h 1328"/>
                  <a:gd name="T84" fmla="*/ 430 w 1431"/>
                  <a:gd name="T85" fmla="*/ 611 h 1328"/>
                  <a:gd name="T86" fmla="*/ 1007 w 1431"/>
                  <a:gd name="T87" fmla="*/ 711 h 1328"/>
                  <a:gd name="T88" fmla="*/ 766 w 1431"/>
                  <a:gd name="T89" fmla="*/ 701 h 1328"/>
                  <a:gd name="T90" fmla="*/ 776 w 1431"/>
                  <a:gd name="T91" fmla="*/ 601 h 1328"/>
                  <a:gd name="T92" fmla="*/ 1017 w 1431"/>
                  <a:gd name="T93" fmla="*/ 611 h 1328"/>
                  <a:gd name="T94" fmla="*/ 1007 w 1431"/>
                  <a:gd name="T95" fmla="*/ 711 h 1328"/>
                  <a:gd name="T96" fmla="*/ 776 w 1431"/>
                  <a:gd name="T97" fmla="*/ 472 h 1328"/>
                  <a:gd name="T98" fmla="*/ 766 w 1431"/>
                  <a:gd name="T99" fmla="*/ 372 h 1328"/>
                  <a:gd name="T100" fmla="*/ 1007 w 1431"/>
                  <a:gd name="T101" fmla="*/ 362 h 1328"/>
                  <a:gd name="T102" fmla="*/ 1017 w 1431"/>
                  <a:gd name="T103" fmla="*/ 462 h 1328"/>
                  <a:gd name="T104" fmla="*/ 1007 w 1431"/>
                  <a:gd name="T105" fmla="*/ 233 h 1328"/>
                  <a:gd name="T106" fmla="*/ 766 w 1431"/>
                  <a:gd name="T107" fmla="*/ 223 h 1328"/>
                  <a:gd name="T108" fmla="*/ 776 w 1431"/>
                  <a:gd name="T109" fmla="*/ 123 h 1328"/>
                  <a:gd name="T110" fmla="*/ 1017 w 1431"/>
                  <a:gd name="T111" fmla="*/ 133 h 1328"/>
                  <a:gd name="T112" fmla="*/ 1007 w 1431"/>
                  <a:gd name="T113" fmla="*/ 233 h 1328"/>
                  <a:gd name="T114" fmla="*/ 177 w 1431"/>
                  <a:gd name="T115" fmla="*/ 1200 h 1328"/>
                  <a:gd name="T116" fmla="*/ 177 w 1431"/>
                  <a:gd name="T117" fmla="*/ 1328 h 1328"/>
                  <a:gd name="T118" fmla="*/ 956 w 1431"/>
                  <a:gd name="T119" fmla="*/ 1264 h 1328"/>
                  <a:gd name="T120" fmla="*/ 1084 w 1431"/>
                  <a:gd name="T121" fmla="*/ 1264 h 1328"/>
                  <a:gd name="T122" fmla="*/ 956 w 1431"/>
                  <a:gd name="T123" fmla="*/ 126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1" h="1328">
                    <a:moveTo>
                      <a:pt x="1418" y="114"/>
                    </a:moveTo>
                    <a:cubicBezTo>
                      <a:pt x="1431" y="32"/>
                      <a:pt x="1431" y="32"/>
                      <a:pt x="1431" y="32"/>
                    </a:cubicBezTo>
                    <a:cubicBezTo>
                      <a:pt x="1431" y="32"/>
                      <a:pt x="1431" y="32"/>
                      <a:pt x="1431" y="31"/>
                    </a:cubicBezTo>
                    <a:cubicBezTo>
                      <a:pt x="1430" y="14"/>
                      <a:pt x="1416" y="0"/>
                      <a:pt x="1400" y="0"/>
                    </a:cubicBezTo>
                    <a:cubicBezTo>
                      <a:pt x="31" y="0"/>
                      <a:pt x="31" y="0"/>
                      <a:pt x="31" y="0"/>
                    </a:cubicBezTo>
                    <a:cubicBezTo>
                      <a:pt x="15" y="0"/>
                      <a:pt x="1" y="14"/>
                      <a:pt x="0" y="31"/>
                    </a:cubicBezTo>
                    <a:cubicBezTo>
                      <a:pt x="0" y="32"/>
                      <a:pt x="0" y="32"/>
                      <a:pt x="0" y="33"/>
                    </a:cubicBezTo>
                    <a:cubicBezTo>
                      <a:pt x="15" y="114"/>
                      <a:pt x="15" y="114"/>
                      <a:pt x="15" y="114"/>
                    </a:cubicBezTo>
                    <a:cubicBezTo>
                      <a:pt x="15" y="120"/>
                      <a:pt x="20" y="123"/>
                      <a:pt x="25" y="123"/>
                    </a:cubicBezTo>
                    <a:cubicBezTo>
                      <a:pt x="334" y="123"/>
                      <a:pt x="334" y="123"/>
                      <a:pt x="334" y="123"/>
                    </a:cubicBezTo>
                    <a:cubicBezTo>
                      <a:pt x="340" y="123"/>
                      <a:pt x="345" y="127"/>
                      <a:pt x="345" y="133"/>
                    </a:cubicBezTo>
                    <a:cubicBezTo>
                      <a:pt x="345" y="223"/>
                      <a:pt x="345" y="223"/>
                      <a:pt x="345" y="223"/>
                    </a:cubicBezTo>
                    <a:cubicBezTo>
                      <a:pt x="345" y="229"/>
                      <a:pt x="340" y="233"/>
                      <a:pt x="334" y="233"/>
                    </a:cubicBezTo>
                    <a:cubicBezTo>
                      <a:pt x="49" y="233"/>
                      <a:pt x="49" y="233"/>
                      <a:pt x="49" y="233"/>
                    </a:cubicBezTo>
                    <a:cubicBezTo>
                      <a:pt x="42" y="233"/>
                      <a:pt x="38" y="239"/>
                      <a:pt x="38" y="245"/>
                    </a:cubicBezTo>
                    <a:cubicBezTo>
                      <a:pt x="58" y="353"/>
                      <a:pt x="58" y="353"/>
                      <a:pt x="58" y="353"/>
                    </a:cubicBezTo>
                    <a:cubicBezTo>
                      <a:pt x="59" y="358"/>
                      <a:pt x="63" y="362"/>
                      <a:pt x="68" y="362"/>
                    </a:cubicBezTo>
                    <a:cubicBezTo>
                      <a:pt x="334" y="362"/>
                      <a:pt x="334" y="362"/>
                      <a:pt x="334" y="362"/>
                    </a:cubicBezTo>
                    <a:cubicBezTo>
                      <a:pt x="340" y="362"/>
                      <a:pt x="345" y="366"/>
                      <a:pt x="345" y="372"/>
                    </a:cubicBezTo>
                    <a:cubicBezTo>
                      <a:pt x="345" y="462"/>
                      <a:pt x="345" y="462"/>
                      <a:pt x="345" y="462"/>
                    </a:cubicBezTo>
                    <a:cubicBezTo>
                      <a:pt x="345" y="468"/>
                      <a:pt x="340" y="472"/>
                      <a:pt x="334" y="472"/>
                    </a:cubicBezTo>
                    <a:cubicBezTo>
                      <a:pt x="91" y="472"/>
                      <a:pt x="91" y="472"/>
                      <a:pt x="91" y="472"/>
                    </a:cubicBezTo>
                    <a:cubicBezTo>
                      <a:pt x="85" y="472"/>
                      <a:pt x="80" y="478"/>
                      <a:pt x="81" y="484"/>
                    </a:cubicBezTo>
                    <a:cubicBezTo>
                      <a:pt x="101" y="592"/>
                      <a:pt x="101" y="592"/>
                      <a:pt x="101" y="592"/>
                    </a:cubicBezTo>
                    <a:cubicBezTo>
                      <a:pt x="102" y="597"/>
                      <a:pt x="106" y="601"/>
                      <a:pt x="111" y="601"/>
                    </a:cubicBezTo>
                    <a:cubicBezTo>
                      <a:pt x="334" y="601"/>
                      <a:pt x="334" y="601"/>
                      <a:pt x="334" y="601"/>
                    </a:cubicBezTo>
                    <a:cubicBezTo>
                      <a:pt x="340" y="601"/>
                      <a:pt x="345" y="605"/>
                      <a:pt x="345" y="611"/>
                    </a:cubicBezTo>
                    <a:cubicBezTo>
                      <a:pt x="345" y="701"/>
                      <a:pt x="345" y="701"/>
                      <a:pt x="345" y="701"/>
                    </a:cubicBezTo>
                    <a:cubicBezTo>
                      <a:pt x="345" y="707"/>
                      <a:pt x="340" y="711"/>
                      <a:pt x="334" y="711"/>
                    </a:cubicBezTo>
                    <a:cubicBezTo>
                      <a:pt x="132" y="711"/>
                      <a:pt x="132" y="711"/>
                      <a:pt x="132" y="711"/>
                    </a:cubicBezTo>
                    <a:cubicBezTo>
                      <a:pt x="125" y="711"/>
                      <a:pt x="121" y="717"/>
                      <a:pt x="122" y="723"/>
                    </a:cubicBezTo>
                    <a:cubicBezTo>
                      <a:pt x="138" y="811"/>
                      <a:pt x="138" y="811"/>
                      <a:pt x="138" y="811"/>
                    </a:cubicBezTo>
                    <a:cubicBezTo>
                      <a:pt x="138" y="811"/>
                      <a:pt x="138" y="811"/>
                      <a:pt x="138" y="812"/>
                    </a:cubicBezTo>
                    <a:cubicBezTo>
                      <a:pt x="138" y="829"/>
                      <a:pt x="152" y="843"/>
                      <a:pt x="168" y="843"/>
                    </a:cubicBezTo>
                    <a:cubicBezTo>
                      <a:pt x="1282" y="843"/>
                      <a:pt x="1282" y="843"/>
                      <a:pt x="1282" y="843"/>
                    </a:cubicBezTo>
                    <a:cubicBezTo>
                      <a:pt x="1298" y="843"/>
                      <a:pt x="1312" y="829"/>
                      <a:pt x="1312" y="811"/>
                    </a:cubicBezTo>
                    <a:cubicBezTo>
                      <a:pt x="1326" y="723"/>
                      <a:pt x="1326" y="723"/>
                      <a:pt x="1326" y="723"/>
                    </a:cubicBezTo>
                    <a:cubicBezTo>
                      <a:pt x="1326" y="717"/>
                      <a:pt x="1321" y="711"/>
                      <a:pt x="1315" y="711"/>
                    </a:cubicBezTo>
                    <a:cubicBezTo>
                      <a:pt x="1112" y="711"/>
                      <a:pt x="1112" y="711"/>
                      <a:pt x="1112" y="711"/>
                    </a:cubicBezTo>
                    <a:cubicBezTo>
                      <a:pt x="1106" y="711"/>
                      <a:pt x="1102" y="707"/>
                      <a:pt x="1102" y="701"/>
                    </a:cubicBezTo>
                    <a:cubicBezTo>
                      <a:pt x="1102" y="611"/>
                      <a:pt x="1102" y="611"/>
                      <a:pt x="1102" y="611"/>
                    </a:cubicBezTo>
                    <a:cubicBezTo>
                      <a:pt x="1102" y="605"/>
                      <a:pt x="1106" y="601"/>
                      <a:pt x="1112" y="601"/>
                    </a:cubicBezTo>
                    <a:cubicBezTo>
                      <a:pt x="1337" y="601"/>
                      <a:pt x="1337" y="601"/>
                      <a:pt x="1337" y="601"/>
                    </a:cubicBezTo>
                    <a:cubicBezTo>
                      <a:pt x="1342" y="601"/>
                      <a:pt x="1346" y="597"/>
                      <a:pt x="1347" y="592"/>
                    </a:cubicBezTo>
                    <a:cubicBezTo>
                      <a:pt x="1363" y="484"/>
                      <a:pt x="1363" y="484"/>
                      <a:pt x="1363" y="484"/>
                    </a:cubicBezTo>
                    <a:cubicBezTo>
                      <a:pt x="1364" y="478"/>
                      <a:pt x="1359" y="472"/>
                      <a:pt x="1353" y="472"/>
                    </a:cubicBezTo>
                    <a:cubicBezTo>
                      <a:pt x="1112" y="472"/>
                      <a:pt x="1112" y="472"/>
                      <a:pt x="1112" y="472"/>
                    </a:cubicBezTo>
                    <a:cubicBezTo>
                      <a:pt x="1106" y="472"/>
                      <a:pt x="1102" y="468"/>
                      <a:pt x="1102" y="462"/>
                    </a:cubicBezTo>
                    <a:cubicBezTo>
                      <a:pt x="1102" y="372"/>
                      <a:pt x="1102" y="372"/>
                      <a:pt x="1102" y="372"/>
                    </a:cubicBezTo>
                    <a:cubicBezTo>
                      <a:pt x="1102" y="366"/>
                      <a:pt x="1106" y="362"/>
                      <a:pt x="1112" y="362"/>
                    </a:cubicBezTo>
                    <a:cubicBezTo>
                      <a:pt x="1373" y="362"/>
                      <a:pt x="1373" y="362"/>
                      <a:pt x="1373" y="362"/>
                    </a:cubicBezTo>
                    <a:cubicBezTo>
                      <a:pt x="1378" y="362"/>
                      <a:pt x="1382" y="358"/>
                      <a:pt x="1383" y="353"/>
                    </a:cubicBezTo>
                    <a:cubicBezTo>
                      <a:pt x="1399" y="245"/>
                      <a:pt x="1399" y="245"/>
                      <a:pt x="1399" y="245"/>
                    </a:cubicBezTo>
                    <a:cubicBezTo>
                      <a:pt x="1400" y="239"/>
                      <a:pt x="1395" y="233"/>
                      <a:pt x="1389" y="233"/>
                    </a:cubicBezTo>
                    <a:cubicBezTo>
                      <a:pt x="1112" y="233"/>
                      <a:pt x="1112" y="233"/>
                      <a:pt x="1112" y="233"/>
                    </a:cubicBezTo>
                    <a:cubicBezTo>
                      <a:pt x="1106" y="233"/>
                      <a:pt x="1102" y="229"/>
                      <a:pt x="1102" y="223"/>
                    </a:cubicBezTo>
                    <a:cubicBezTo>
                      <a:pt x="1102" y="133"/>
                      <a:pt x="1102" y="133"/>
                      <a:pt x="1102" y="133"/>
                    </a:cubicBezTo>
                    <a:cubicBezTo>
                      <a:pt x="1102" y="127"/>
                      <a:pt x="1106" y="123"/>
                      <a:pt x="1112" y="123"/>
                    </a:cubicBezTo>
                    <a:cubicBezTo>
                      <a:pt x="1408" y="123"/>
                      <a:pt x="1408" y="123"/>
                      <a:pt x="1408" y="123"/>
                    </a:cubicBezTo>
                    <a:cubicBezTo>
                      <a:pt x="1413" y="123"/>
                      <a:pt x="1418" y="120"/>
                      <a:pt x="1418" y="114"/>
                    </a:cubicBezTo>
                    <a:close/>
                    <a:moveTo>
                      <a:pt x="440" y="123"/>
                    </a:moveTo>
                    <a:cubicBezTo>
                      <a:pt x="671" y="123"/>
                      <a:pt x="671" y="123"/>
                      <a:pt x="671" y="123"/>
                    </a:cubicBezTo>
                    <a:cubicBezTo>
                      <a:pt x="676" y="123"/>
                      <a:pt x="681" y="127"/>
                      <a:pt x="681" y="133"/>
                    </a:cubicBezTo>
                    <a:cubicBezTo>
                      <a:pt x="681" y="223"/>
                      <a:pt x="681" y="223"/>
                      <a:pt x="681" y="223"/>
                    </a:cubicBezTo>
                    <a:cubicBezTo>
                      <a:pt x="681" y="229"/>
                      <a:pt x="676" y="233"/>
                      <a:pt x="671" y="233"/>
                    </a:cubicBezTo>
                    <a:cubicBezTo>
                      <a:pt x="440" y="233"/>
                      <a:pt x="440" y="233"/>
                      <a:pt x="440" y="233"/>
                    </a:cubicBezTo>
                    <a:cubicBezTo>
                      <a:pt x="435" y="233"/>
                      <a:pt x="430" y="229"/>
                      <a:pt x="430" y="223"/>
                    </a:cubicBezTo>
                    <a:cubicBezTo>
                      <a:pt x="430" y="133"/>
                      <a:pt x="430" y="133"/>
                      <a:pt x="430" y="133"/>
                    </a:cubicBezTo>
                    <a:cubicBezTo>
                      <a:pt x="430" y="127"/>
                      <a:pt x="435" y="123"/>
                      <a:pt x="440" y="123"/>
                    </a:cubicBezTo>
                    <a:close/>
                    <a:moveTo>
                      <a:pt x="440" y="362"/>
                    </a:moveTo>
                    <a:cubicBezTo>
                      <a:pt x="671" y="362"/>
                      <a:pt x="671" y="362"/>
                      <a:pt x="671" y="362"/>
                    </a:cubicBezTo>
                    <a:cubicBezTo>
                      <a:pt x="676" y="362"/>
                      <a:pt x="681" y="366"/>
                      <a:pt x="681" y="372"/>
                    </a:cubicBezTo>
                    <a:cubicBezTo>
                      <a:pt x="681" y="462"/>
                      <a:pt x="681" y="462"/>
                      <a:pt x="681" y="462"/>
                    </a:cubicBezTo>
                    <a:cubicBezTo>
                      <a:pt x="681" y="468"/>
                      <a:pt x="676" y="472"/>
                      <a:pt x="671" y="472"/>
                    </a:cubicBezTo>
                    <a:cubicBezTo>
                      <a:pt x="440" y="472"/>
                      <a:pt x="440" y="472"/>
                      <a:pt x="440" y="472"/>
                    </a:cubicBezTo>
                    <a:cubicBezTo>
                      <a:pt x="435" y="472"/>
                      <a:pt x="430" y="468"/>
                      <a:pt x="430" y="462"/>
                    </a:cubicBezTo>
                    <a:cubicBezTo>
                      <a:pt x="430" y="372"/>
                      <a:pt x="430" y="372"/>
                      <a:pt x="430" y="372"/>
                    </a:cubicBezTo>
                    <a:cubicBezTo>
                      <a:pt x="430" y="366"/>
                      <a:pt x="435" y="362"/>
                      <a:pt x="440" y="362"/>
                    </a:cubicBezTo>
                    <a:close/>
                    <a:moveTo>
                      <a:pt x="440" y="601"/>
                    </a:moveTo>
                    <a:cubicBezTo>
                      <a:pt x="671" y="601"/>
                      <a:pt x="671" y="601"/>
                      <a:pt x="671" y="601"/>
                    </a:cubicBezTo>
                    <a:cubicBezTo>
                      <a:pt x="676" y="601"/>
                      <a:pt x="681" y="605"/>
                      <a:pt x="681" y="611"/>
                    </a:cubicBezTo>
                    <a:cubicBezTo>
                      <a:pt x="681" y="701"/>
                      <a:pt x="681" y="701"/>
                      <a:pt x="681" y="701"/>
                    </a:cubicBezTo>
                    <a:cubicBezTo>
                      <a:pt x="681" y="707"/>
                      <a:pt x="676" y="711"/>
                      <a:pt x="671" y="711"/>
                    </a:cubicBezTo>
                    <a:cubicBezTo>
                      <a:pt x="440" y="711"/>
                      <a:pt x="440" y="711"/>
                      <a:pt x="440" y="711"/>
                    </a:cubicBezTo>
                    <a:cubicBezTo>
                      <a:pt x="435" y="711"/>
                      <a:pt x="430" y="707"/>
                      <a:pt x="430" y="701"/>
                    </a:cubicBezTo>
                    <a:cubicBezTo>
                      <a:pt x="430" y="611"/>
                      <a:pt x="430" y="611"/>
                      <a:pt x="430" y="611"/>
                    </a:cubicBezTo>
                    <a:cubicBezTo>
                      <a:pt x="430" y="605"/>
                      <a:pt x="435" y="601"/>
                      <a:pt x="440" y="601"/>
                    </a:cubicBezTo>
                    <a:close/>
                    <a:moveTo>
                      <a:pt x="1007" y="711"/>
                    </a:moveTo>
                    <a:cubicBezTo>
                      <a:pt x="776" y="711"/>
                      <a:pt x="776" y="711"/>
                      <a:pt x="776" y="711"/>
                    </a:cubicBezTo>
                    <a:cubicBezTo>
                      <a:pt x="771" y="711"/>
                      <a:pt x="766" y="707"/>
                      <a:pt x="766" y="701"/>
                    </a:cubicBezTo>
                    <a:cubicBezTo>
                      <a:pt x="766" y="611"/>
                      <a:pt x="766" y="611"/>
                      <a:pt x="766" y="611"/>
                    </a:cubicBezTo>
                    <a:cubicBezTo>
                      <a:pt x="766" y="605"/>
                      <a:pt x="771" y="601"/>
                      <a:pt x="776" y="601"/>
                    </a:cubicBezTo>
                    <a:cubicBezTo>
                      <a:pt x="1007" y="601"/>
                      <a:pt x="1007" y="601"/>
                      <a:pt x="1007" y="601"/>
                    </a:cubicBezTo>
                    <a:cubicBezTo>
                      <a:pt x="1013" y="601"/>
                      <a:pt x="1017" y="605"/>
                      <a:pt x="1017" y="611"/>
                    </a:cubicBezTo>
                    <a:cubicBezTo>
                      <a:pt x="1017" y="701"/>
                      <a:pt x="1017" y="701"/>
                      <a:pt x="1017" y="701"/>
                    </a:cubicBezTo>
                    <a:cubicBezTo>
                      <a:pt x="1017" y="707"/>
                      <a:pt x="1013" y="711"/>
                      <a:pt x="1007" y="711"/>
                    </a:cubicBezTo>
                    <a:close/>
                    <a:moveTo>
                      <a:pt x="1007" y="472"/>
                    </a:moveTo>
                    <a:cubicBezTo>
                      <a:pt x="776" y="472"/>
                      <a:pt x="776" y="472"/>
                      <a:pt x="776" y="472"/>
                    </a:cubicBezTo>
                    <a:cubicBezTo>
                      <a:pt x="771" y="472"/>
                      <a:pt x="766" y="468"/>
                      <a:pt x="766" y="462"/>
                    </a:cubicBezTo>
                    <a:cubicBezTo>
                      <a:pt x="766" y="372"/>
                      <a:pt x="766" y="372"/>
                      <a:pt x="766" y="372"/>
                    </a:cubicBezTo>
                    <a:cubicBezTo>
                      <a:pt x="766" y="366"/>
                      <a:pt x="771" y="362"/>
                      <a:pt x="776" y="362"/>
                    </a:cubicBezTo>
                    <a:cubicBezTo>
                      <a:pt x="1007" y="362"/>
                      <a:pt x="1007" y="362"/>
                      <a:pt x="1007" y="362"/>
                    </a:cubicBezTo>
                    <a:cubicBezTo>
                      <a:pt x="1013" y="362"/>
                      <a:pt x="1017" y="366"/>
                      <a:pt x="1017" y="372"/>
                    </a:cubicBezTo>
                    <a:cubicBezTo>
                      <a:pt x="1017" y="462"/>
                      <a:pt x="1017" y="462"/>
                      <a:pt x="1017" y="462"/>
                    </a:cubicBezTo>
                    <a:cubicBezTo>
                      <a:pt x="1017" y="468"/>
                      <a:pt x="1013" y="472"/>
                      <a:pt x="1007" y="472"/>
                    </a:cubicBezTo>
                    <a:close/>
                    <a:moveTo>
                      <a:pt x="1007" y="233"/>
                    </a:moveTo>
                    <a:cubicBezTo>
                      <a:pt x="776" y="233"/>
                      <a:pt x="776" y="233"/>
                      <a:pt x="776" y="233"/>
                    </a:cubicBezTo>
                    <a:cubicBezTo>
                      <a:pt x="771" y="233"/>
                      <a:pt x="766" y="229"/>
                      <a:pt x="766" y="223"/>
                    </a:cubicBezTo>
                    <a:cubicBezTo>
                      <a:pt x="766" y="133"/>
                      <a:pt x="766" y="133"/>
                      <a:pt x="766" y="133"/>
                    </a:cubicBezTo>
                    <a:cubicBezTo>
                      <a:pt x="766" y="127"/>
                      <a:pt x="771" y="123"/>
                      <a:pt x="776" y="123"/>
                    </a:cubicBezTo>
                    <a:cubicBezTo>
                      <a:pt x="1007" y="123"/>
                      <a:pt x="1007" y="123"/>
                      <a:pt x="1007" y="123"/>
                    </a:cubicBezTo>
                    <a:cubicBezTo>
                      <a:pt x="1013" y="123"/>
                      <a:pt x="1017" y="127"/>
                      <a:pt x="1017" y="133"/>
                    </a:cubicBezTo>
                    <a:cubicBezTo>
                      <a:pt x="1017" y="223"/>
                      <a:pt x="1017" y="223"/>
                      <a:pt x="1017" y="223"/>
                    </a:cubicBezTo>
                    <a:cubicBezTo>
                      <a:pt x="1017" y="229"/>
                      <a:pt x="1013" y="233"/>
                      <a:pt x="1007" y="233"/>
                    </a:cubicBezTo>
                    <a:close/>
                    <a:moveTo>
                      <a:pt x="113" y="1264"/>
                    </a:moveTo>
                    <a:cubicBezTo>
                      <a:pt x="113" y="1229"/>
                      <a:pt x="141" y="1200"/>
                      <a:pt x="177" y="1200"/>
                    </a:cubicBezTo>
                    <a:cubicBezTo>
                      <a:pt x="212" y="1200"/>
                      <a:pt x="241" y="1229"/>
                      <a:pt x="241" y="1264"/>
                    </a:cubicBezTo>
                    <a:cubicBezTo>
                      <a:pt x="241" y="1300"/>
                      <a:pt x="212" y="1328"/>
                      <a:pt x="177" y="1328"/>
                    </a:cubicBezTo>
                    <a:cubicBezTo>
                      <a:pt x="141" y="1328"/>
                      <a:pt x="113" y="1300"/>
                      <a:pt x="113" y="1264"/>
                    </a:cubicBezTo>
                    <a:close/>
                    <a:moveTo>
                      <a:pt x="956" y="1264"/>
                    </a:moveTo>
                    <a:cubicBezTo>
                      <a:pt x="956" y="1229"/>
                      <a:pt x="985" y="1200"/>
                      <a:pt x="1020" y="1200"/>
                    </a:cubicBezTo>
                    <a:cubicBezTo>
                      <a:pt x="1055" y="1200"/>
                      <a:pt x="1084" y="1229"/>
                      <a:pt x="1084" y="1264"/>
                    </a:cubicBezTo>
                    <a:cubicBezTo>
                      <a:pt x="1084" y="1300"/>
                      <a:pt x="1055" y="1328"/>
                      <a:pt x="1020" y="1328"/>
                    </a:cubicBezTo>
                    <a:cubicBezTo>
                      <a:pt x="985" y="1328"/>
                      <a:pt x="956" y="1300"/>
                      <a:pt x="956" y="12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1">
                <a:extLst>
                  <a:ext uri="{FF2B5EF4-FFF2-40B4-BE49-F238E27FC236}">
                    <a16:creationId xmlns="" xmlns:a16="http://schemas.microsoft.com/office/drawing/2014/main" id="{003ABB0B-C8AC-47BB-8CFD-3A1DF1AB5771}"/>
                  </a:ext>
                </a:extLst>
              </p:cNvPr>
              <p:cNvSpPr>
                <a:spLocks noEditPoints="1"/>
              </p:cNvSpPr>
              <p:nvPr/>
            </p:nvSpPr>
            <p:spPr bwMode="auto">
              <a:xfrm>
                <a:off x="5415152" y="2867406"/>
                <a:ext cx="1118235" cy="1111758"/>
              </a:xfrm>
              <a:custGeom>
                <a:avLst/>
                <a:gdLst>
                  <a:gd name="T0" fmla="*/ 1545 w 1567"/>
                  <a:gd name="T1" fmla="*/ 1138 h 1556"/>
                  <a:gd name="T2" fmla="*/ 453 w 1567"/>
                  <a:gd name="T3" fmla="*/ 1138 h 1556"/>
                  <a:gd name="T4" fmla="*/ 431 w 1567"/>
                  <a:gd name="T5" fmla="*/ 1120 h 1556"/>
                  <a:gd name="T6" fmla="*/ 245 w 1567"/>
                  <a:gd name="T7" fmla="*/ 44 h 1556"/>
                  <a:gd name="T8" fmla="*/ 22 w 1567"/>
                  <a:gd name="T9" fmla="*/ 44 h 1556"/>
                  <a:gd name="T10" fmla="*/ 0 w 1567"/>
                  <a:gd name="T11" fmla="*/ 22 h 1556"/>
                  <a:gd name="T12" fmla="*/ 22 w 1567"/>
                  <a:gd name="T13" fmla="*/ 0 h 1556"/>
                  <a:gd name="T14" fmla="*/ 263 w 1567"/>
                  <a:gd name="T15" fmla="*/ 0 h 1556"/>
                  <a:gd name="T16" fmla="*/ 285 w 1567"/>
                  <a:gd name="T17" fmla="*/ 18 h 1556"/>
                  <a:gd name="T18" fmla="*/ 471 w 1567"/>
                  <a:gd name="T19" fmla="*/ 1094 h 1556"/>
                  <a:gd name="T20" fmla="*/ 1545 w 1567"/>
                  <a:gd name="T21" fmla="*/ 1094 h 1556"/>
                  <a:gd name="T22" fmla="*/ 1567 w 1567"/>
                  <a:gd name="T23" fmla="*/ 1116 h 1556"/>
                  <a:gd name="T24" fmla="*/ 1545 w 1567"/>
                  <a:gd name="T25" fmla="*/ 1138 h 1556"/>
                  <a:gd name="T26" fmla="*/ 1557 w 1567"/>
                  <a:gd name="T27" fmla="*/ 1417 h 1556"/>
                  <a:gd name="T28" fmla="*/ 1418 w 1567"/>
                  <a:gd name="T29" fmla="*/ 1278 h 1556"/>
                  <a:gd name="T30" fmla="*/ 1279 w 1567"/>
                  <a:gd name="T31" fmla="*/ 1417 h 1556"/>
                  <a:gd name="T32" fmla="*/ 1418 w 1567"/>
                  <a:gd name="T33" fmla="*/ 1556 h 1556"/>
                  <a:gd name="T34" fmla="*/ 1557 w 1567"/>
                  <a:gd name="T35" fmla="*/ 1417 h 1556"/>
                  <a:gd name="T36" fmla="*/ 1513 w 1567"/>
                  <a:gd name="T37" fmla="*/ 1417 h 1556"/>
                  <a:gd name="T38" fmla="*/ 1418 w 1567"/>
                  <a:gd name="T39" fmla="*/ 1512 h 1556"/>
                  <a:gd name="T40" fmla="*/ 1323 w 1567"/>
                  <a:gd name="T41" fmla="*/ 1417 h 1556"/>
                  <a:gd name="T42" fmla="*/ 1418 w 1567"/>
                  <a:gd name="T43" fmla="*/ 1322 h 1556"/>
                  <a:gd name="T44" fmla="*/ 1513 w 1567"/>
                  <a:gd name="T45" fmla="*/ 1417 h 1556"/>
                  <a:gd name="T46" fmla="*/ 714 w 1567"/>
                  <a:gd name="T47" fmla="*/ 1417 h 1556"/>
                  <a:gd name="T48" fmla="*/ 575 w 1567"/>
                  <a:gd name="T49" fmla="*/ 1278 h 1556"/>
                  <a:gd name="T50" fmla="*/ 436 w 1567"/>
                  <a:gd name="T51" fmla="*/ 1417 h 1556"/>
                  <a:gd name="T52" fmla="*/ 575 w 1567"/>
                  <a:gd name="T53" fmla="*/ 1556 h 1556"/>
                  <a:gd name="T54" fmla="*/ 714 w 1567"/>
                  <a:gd name="T55" fmla="*/ 1417 h 1556"/>
                  <a:gd name="T56" fmla="*/ 670 w 1567"/>
                  <a:gd name="T57" fmla="*/ 1417 h 1556"/>
                  <a:gd name="T58" fmla="*/ 575 w 1567"/>
                  <a:gd name="T59" fmla="*/ 1512 h 1556"/>
                  <a:gd name="T60" fmla="*/ 480 w 1567"/>
                  <a:gd name="T61" fmla="*/ 1417 h 1556"/>
                  <a:gd name="T62" fmla="*/ 575 w 1567"/>
                  <a:gd name="T63" fmla="*/ 1322 h 1556"/>
                  <a:gd name="T64" fmla="*/ 670 w 1567"/>
                  <a:gd name="T65" fmla="*/ 1417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7" h="1556">
                    <a:moveTo>
                      <a:pt x="1545" y="1138"/>
                    </a:moveTo>
                    <a:cubicBezTo>
                      <a:pt x="453" y="1138"/>
                      <a:pt x="453" y="1138"/>
                      <a:pt x="453" y="1138"/>
                    </a:cubicBezTo>
                    <a:cubicBezTo>
                      <a:pt x="442" y="1138"/>
                      <a:pt x="433" y="1130"/>
                      <a:pt x="431" y="1120"/>
                    </a:cubicBezTo>
                    <a:cubicBezTo>
                      <a:pt x="245" y="44"/>
                      <a:pt x="245" y="44"/>
                      <a:pt x="245" y="44"/>
                    </a:cubicBezTo>
                    <a:cubicBezTo>
                      <a:pt x="22" y="44"/>
                      <a:pt x="22" y="44"/>
                      <a:pt x="22" y="44"/>
                    </a:cubicBezTo>
                    <a:cubicBezTo>
                      <a:pt x="10" y="44"/>
                      <a:pt x="0" y="34"/>
                      <a:pt x="0" y="22"/>
                    </a:cubicBezTo>
                    <a:cubicBezTo>
                      <a:pt x="0" y="10"/>
                      <a:pt x="10" y="0"/>
                      <a:pt x="22" y="0"/>
                    </a:cubicBezTo>
                    <a:cubicBezTo>
                      <a:pt x="263" y="0"/>
                      <a:pt x="263" y="0"/>
                      <a:pt x="263" y="0"/>
                    </a:cubicBezTo>
                    <a:cubicBezTo>
                      <a:pt x="274" y="0"/>
                      <a:pt x="283" y="8"/>
                      <a:pt x="285" y="18"/>
                    </a:cubicBezTo>
                    <a:cubicBezTo>
                      <a:pt x="471" y="1094"/>
                      <a:pt x="471" y="1094"/>
                      <a:pt x="471" y="1094"/>
                    </a:cubicBezTo>
                    <a:cubicBezTo>
                      <a:pt x="1545" y="1094"/>
                      <a:pt x="1545" y="1094"/>
                      <a:pt x="1545" y="1094"/>
                    </a:cubicBezTo>
                    <a:cubicBezTo>
                      <a:pt x="1557" y="1094"/>
                      <a:pt x="1567" y="1104"/>
                      <a:pt x="1567" y="1116"/>
                    </a:cubicBezTo>
                    <a:cubicBezTo>
                      <a:pt x="1567" y="1128"/>
                      <a:pt x="1557" y="1138"/>
                      <a:pt x="1545" y="1138"/>
                    </a:cubicBezTo>
                    <a:close/>
                    <a:moveTo>
                      <a:pt x="1557" y="1417"/>
                    </a:moveTo>
                    <a:cubicBezTo>
                      <a:pt x="1557" y="1341"/>
                      <a:pt x="1495" y="1278"/>
                      <a:pt x="1418" y="1278"/>
                    </a:cubicBezTo>
                    <a:cubicBezTo>
                      <a:pt x="1341" y="1278"/>
                      <a:pt x="1279" y="1341"/>
                      <a:pt x="1279" y="1417"/>
                    </a:cubicBezTo>
                    <a:cubicBezTo>
                      <a:pt x="1279" y="1494"/>
                      <a:pt x="1341" y="1556"/>
                      <a:pt x="1418" y="1556"/>
                    </a:cubicBezTo>
                    <a:cubicBezTo>
                      <a:pt x="1495" y="1556"/>
                      <a:pt x="1557" y="1494"/>
                      <a:pt x="1557" y="1417"/>
                    </a:cubicBezTo>
                    <a:close/>
                    <a:moveTo>
                      <a:pt x="1513" y="1417"/>
                    </a:moveTo>
                    <a:cubicBezTo>
                      <a:pt x="1513" y="1470"/>
                      <a:pt x="1470" y="1512"/>
                      <a:pt x="1418" y="1512"/>
                    </a:cubicBezTo>
                    <a:cubicBezTo>
                      <a:pt x="1366" y="1512"/>
                      <a:pt x="1323" y="1470"/>
                      <a:pt x="1323" y="1417"/>
                    </a:cubicBezTo>
                    <a:cubicBezTo>
                      <a:pt x="1323" y="1365"/>
                      <a:pt x="1366" y="1322"/>
                      <a:pt x="1418" y="1322"/>
                    </a:cubicBezTo>
                    <a:cubicBezTo>
                      <a:pt x="1470" y="1322"/>
                      <a:pt x="1513" y="1365"/>
                      <a:pt x="1513" y="1417"/>
                    </a:cubicBezTo>
                    <a:close/>
                    <a:moveTo>
                      <a:pt x="714" y="1417"/>
                    </a:moveTo>
                    <a:cubicBezTo>
                      <a:pt x="714" y="1341"/>
                      <a:pt x="651" y="1278"/>
                      <a:pt x="575" y="1278"/>
                    </a:cubicBezTo>
                    <a:cubicBezTo>
                      <a:pt x="498" y="1278"/>
                      <a:pt x="436" y="1341"/>
                      <a:pt x="436" y="1417"/>
                    </a:cubicBezTo>
                    <a:cubicBezTo>
                      <a:pt x="436" y="1494"/>
                      <a:pt x="498" y="1556"/>
                      <a:pt x="575" y="1556"/>
                    </a:cubicBezTo>
                    <a:cubicBezTo>
                      <a:pt x="651" y="1556"/>
                      <a:pt x="714" y="1494"/>
                      <a:pt x="714" y="1417"/>
                    </a:cubicBezTo>
                    <a:close/>
                    <a:moveTo>
                      <a:pt x="670" y="1417"/>
                    </a:moveTo>
                    <a:cubicBezTo>
                      <a:pt x="670" y="1470"/>
                      <a:pt x="627" y="1512"/>
                      <a:pt x="575" y="1512"/>
                    </a:cubicBezTo>
                    <a:cubicBezTo>
                      <a:pt x="522" y="1512"/>
                      <a:pt x="480" y="1470"/>
                      <a:pt x="480" y="1417"/>
                    </a:cubicBezTo>
                    <a:cubicBezTo>
                      <a:pt x="480" y="1365"/>
                      <a:pt x="522" y="1322"/>
                      <a:pt x="575" y="1322"/>
                    </a:cubicBezTo>
                    <a:cubicBezTo>
                      <a:pt x="627" y="1322"/>
                      <a:pt x="670" y="1365"/>
                      <a:pt x="670" y="14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bcgIcons_PlantGrow">
            <a:extLst>
              <a:ext uri="{FF2B5EF4-FFF2-40B4-BE49-F238E27FC236}">
                <a16:creationId xmlns="" xmlns:a16="http://schemas.microsoft.com/office/drawing/2014/main" id="{C625F55C-903E-47A0-AB44-D6D1CADE36BD}"/>
              </a:ext>
            </a:extLst>
          </p:cNvPr>
          <p:cNvGrpSpPr>
            <a:grpSpLocks noChangeAspect="1"/>
          </p:cNvGrpSpPr>
          <p:nvPr/>
        </p:nvGrpSpPr>
        <p:grpSpPr bwMode="auto">
          <a:xfrm>
            <a:off x="9224022" y="3564741"/>
            <a:ext cx="1549096" cy="1550532"/>
            <a:chOff x="1682" y="0"/>
            <a:chExt cx="4316" cy="4320"/>
          </a:xfrm>
        </p:grpSpPr>
        <p:sp>
          <p:nvSpPr>
            <p:cNvPr id="21" name="AutoShape 28">
              <a:extLst>
                <a:ext uri="{FF2B5EF4-FFF2-40B4-BE49-F238E27FC236}">
                  <a16:creationId xmlns="" xmlns:a16="http://schemas.microsoft.com/office/drawing/2014/main" id="{A297CC68-804A-4CA2-ACE0-738CE43A26A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30">
              <a:extLst>
                <a:ext uri="{FF2B5EF4-FFF2-40B4-BE49-F238E27FC236}">
                  <a16:creationId xmlns="" xmlns:a16="http://schemas.microsoft.com/office/drawing/2014/main" id="{8C6301DA-B7CC-4DDD-879F-D51EC80B1591}"/>
                </a:ext>
              </a:extLst>
            </p:cNvPr>
            <p:cNvSpPr>
              <a:spLocks noEditPoints="1"/>
            </p:cNvSpPr>
            <p:nvPr/>
          </p:nvSpPr>
          <p:spPr bwMode="auto">
            <a:xfrm>
              <a:off x="2742" y="911"/>
              <a:ext cx="2209" cy="2625"/>
            </a:xfrm>
            <a:custGeom>
              <a:avLst/>
              <a:gdLst>
                <a:gd name="T0" fmla="*/ 288 w 1179"/>
                <a:gd name="T1" fmla="*/ 867 h 1400"/>
                <a:gd name="T2" fmla="*/ 93 w 1179"/>
                <a:gd name="T3" fmla="*/ 749 h 1400"/>
                <a:gd name="T4" fmla="*/ 55 w 1179"/>
                <a:gd name="T5" fmla="*/ 426 h 1400"/>
                <a:gd name="T6" fmla="*/ 352 w 1179"/>
                <a:gd name="T7" fmla="*/ 560 h 1400"/>
                <a:gd name="T8" fmla="*/ 405 w 1179"/>
                <a:gd name="T9" fmla="*/ 790 h 1400"/>
                <a:gd name="T10" fmla="*/ 285 w 1179"/>
                <a:gd name="T11" fmla="*/ 639 h 1400"/>
                <a:gd name="T12" fmla="*/ 236 w 1179"/>
                <a:gd name="T13" fmla="*/ 615 h 1400"/>
                <a:gd name="T14" fmla="*/ 202 w 1179"/>
                <a:gd name="T15" fmla="*/ 626 h 1400"/>
                <a:gd name="T16" fmla="*/ 174 w 1179"/>
                <a:gd name="T17" fmla="*/ 666 h 1400"/>
                <a:gd name="T18" fmla="*/ 184 w 1179"/>
                <a:gd name="T19" fmla="*/ 712 h 1400"/>
                <a:gd name="T20" fmla="*/ 288 w 1179"/>
                <a:gd name="T21" fmla="*/ 867 h 1400"/>
                <a:gd name="T22" fmla="*/ 950 w 1179"/>
                <a:gd name="T23" fmla="*/ 663 h 1400"/>
                <a:gd name="T24" fmla="*/ 926 w 1179"/>
                <a:gd name="T25" fmla="*/ 666 h 1400"/>
                <a:gd name="T26" fmla="*/ 633 w 1179"/>
                <a:gd name="T27" fmla="*/ 1036 h 1400"/>
                <a:gd name="T28" fmla="*/ 633 w 1179"/>
                <a:gd name="T29" fmla="*/ 1036 h 1400"/>
                <a:gd name="T30" fmla="*/ 604 w 1179"/>
                <a:gd name="T31" fmla="*/ 346 h 1400"/>
                <a:gd name="T32" fmla="*/ 586 w 1179"/>
                <a:gd name="T33" fmla="*/ 328 h 1400"/>
                <a:gd name="T34" fmla="*/ 567 w 1179"/>
                <a:gd name="T35" fmla="*/ 346 h 1400"/>
                <a:gd name="T36" fmla="*/ 541 w 1179"/>
                <a:gd name="T37" fmla="*/ 1033 h 1400"/>
                <a:gd name="T38" fmla="*/ 250 w 1179"/>
                <a:gd name="T39" fmla="*/ 666 h 1400"/>
                <a:gd name="T40" fmla="*/ 226 w 1179"/>
                <a:gd name="T41" fmla="*/ 663 h 1400"/>
                <a:gd name="T42" fmla="*/ 220 w 1179"/>
                <a:gd name="T43" fmla="*/ 687 h 1400"/>
                <a:gd name="T44" fmla="*/ 441 w 1179"/>
                <a:gd name="T45" fmla="*/ 1016 h 1400"/>
                <a:gd name="T46" fmla="*/ 534 w 1179"/>
                <a:gd name="T47" fmla="*/ 1154 h 1400"/>
                <a:gd name="T48" fmla="*/ 528 w 1179"/>
                <a:gd name="T49" fmla="*/ 1284 h 1400"/>
                <a:gd name="T50" fmla="*/ 525 w 1179"/>
                <a:gd name="T51" fmla="*/ 1336 h 1400"/>
                <a:gd name="T52" fmla="*/ 525 w 1179"/>
                <a:gd name="T53" fmla="*/ 1341 h 1400"/>
                <a:gd name="T54" fmla="*/ 588 w 1179"/>
                <a:gd name="T55" fmla="*/ 1400 h 1400"/>
                <a:gd name="T56" fmla="*/ 647 w 1179"/>
                <a:gd name="T57" fmla="*/ 1336 h 1400"/>
                <a:gd name="T58" fmla="*/ 638 w 1179"/>
                <a:gd name="T59" fmla="*/ 1160 h 1400"/>
                <a:gd name="T60" fmla="*/ 737 w 1179"/>
                <a:gd name="T61" fmla="*/ 1013 h 1400"/>
                <a:gd name="T62" fmla="*/ 764 w 1179"/>
                <a:gd name="T63" fmla="*/ 973 h 1400"/>
                <a:gd name="T64" fmla="*/ 956 w 1179"/>
                <a:gd name="T65" fmla="*/ 687 h 1400"/>
                <a:gd name="T66" fmla="*/ 950 w 1179"/>
                <a:gd name="T67" fmla="*/ 663 h 1400"/>
                <a:gd name="T68" fmla="*/ 523 w 1179"/>
                <a:gd name="T69" fmla="*/ 344 h 1400"/>
                <a:gd name="T70" fmla="*/ 524 w 1179"/>
                <a:gd name="T71" fmla="*/ 343 h 1400"/>
                <a:gd name="T72" fmla="*/ 584 w 1179"/>
                <a:gd name="T73" fmla="*/ 284 h 1400"/>
                <a:gd name="T74" fmla="*/ 589 w 1179"/>
                <a:gd name="T75" fmla="*/ 284 h 1400"/>
                <a:gd name="T76" fmla="*/ 648 w 1179"/>
                <a:gd name="T77" fmla="*/ 340 h 1400"/>
                <a:gd name="T78" fmla="*/ 648 w 1179"/>
                <a:gd name="T79" fmla="*/ 342 h 1400"/>
                <a:gd name="T80" fmla="*/ 648 w 1179"/>
                <a:gd name="T81" fmla="*/ 344 h 1400"/>
                <a:gd name="T82" fmla="*/ 656 w 1179"/>
                <a:gd name="T83" fmla="*/ 536 h 1400"/>
                <a:gd name="T84" fmla="*/ 758 w 1179"/>
                <a:gd name="T85" fmla="*/ 303 h 1400"/>
                <a:gd name="T86" fmla="*/ 586 w 1179"/>
                <a:gd name="T87" fmla="*/ 0 h 1400"/>
                <a:gd name="T88" fmla="*/ 415 w 1179"/>
                <a:gd name="T89" fmla="*/ 303 h 1400"/>
                <a:gd name="T90" fmla="*/ 516 w 1179"/>
                <a:gd name="T91" fmla="*/ 536 h 1400"/>
                <a:gd name="T92" fmla="*/ 523 w 1179"/>
                <a:gd name="T93" fmla="*/ 344 h 1400"/>
                <a:gd name="T94" fmla="*/ 1124 w 1179"/>
                <a:gd name="T95" fmla="*/ 426 h 1400"/>
                <a:gd name="T96" fmla="*/ 826 w 1179"/>
                <a:gd name="T97" fmla="*/ 560 h 1400"/>
                <a:gd name="T98" fmla="*/ 773 w 1179"/>
                <a:gd name="T99" fmla="*/ 788 h 1400"/>
                <a:gd name="T100" fmla="*/ 892 w 1179"/>
                <a:gd name="T101" fmla="*/ 639 h 1400"/>
                <a:gd name="T102" fmla="*/ 940 w 1179"/>
                <a:gd name="T103" fmla="*/ 615 h 1400"/>
                <a:gd name="T104" fmla="*/ 975 w 1179"/>
                <a:gd name="T105" fmla="*/ 626 h 1400"/>
                <a:gd name="T106" fmla="*/ 1002 w 1179"/>
                <a:gd name="T107" fmla="*/ 666 h 1400"/>
                <a:gd name="T108" fmla="*/ 992 w 1179"/>
                <a:gd name="T109" fmla="*/ 712 h 1400"/>
                <a:gd name="T110" fmla="*/ 887 w 1179"/>
                <a:gd name="T111" fmla="*/ 868 h 1400"/>
                <a:gd name="T112" fmla="*/ 1086 w 1179"/>
                <a:gd name="T113" fmla="*/ 749 h 1400"/>
                <a:gd name="T114" fmla="*/ 1124 w 1179"/>
                <a:gd name="T115" fmla="*/ 426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9" h="1400">
                  <a:moveTo>
                    <a:pt x="288" y="867"/>
                  </a:moveTo>
                  <a:cubicBezTo>
                    <a:pt x="223" y="850"/>
                    <a:pt x="142" y="816"/>
                    <a:pt x="93" y="749"/>
                  </a:cubicBezTo>
                  <a:cubicBezTo>
                    <a:pt x="0" y="623"/>
                    <a:pt x="55" y="426"/>
                    <a:pt x="55" y="426"/>
                  </a:cubicBezTo>
                  <a:cubicBezTo>
                    <a:pt x="55" y="426"/>
                    <a:pt x="259" y="434"/>
                    <a:pt x="352" y="560"/>
                  </a:cubicBezTo>
                  <a:cubicBezTo>
                    <a:pt x="403" y="631"/>
                    <a:pt x="409" y="723"/>
                    <a:pt x="405" y="790"/>
                  </a:cubicBezTo>
                  <a:cubicBezTo>
                    <a:pt x="298" y="656"/>
                    <a:pt x="286" y="640"/>
                    <a:pt x="285" y="639"/>
                  </a:cubicBezTo>
                  <a:cubicBezTo>
                    <a:pt x="273" y="624"/>
                    <a:pt x="255" y="615"/>
                    <a:pt x="236" y="615"/>
                  </a:cubicBezTo>
                  <a:cubicBezTo>
                    <a:pt x="224" y="615"/>
                    <a:pt x="212" y="619"/>
                    <a:pt x="202" y="626"/>
                  </a:cubicBezTo>
                  <a:cubicBezTo>
                    <a:pt x="187" y="635"/>
                    <a:pt x="178" y="650"/>
                    <a:pt x="174" y="666"/>
                  </a:cubicBezTo>
                  <a:cubicBezTo>
                    <a:pt x="171" y="682"/>
                    <a:pt x="175" y="699"/>
                    <a:pt x="184" y="712"/>
                  </a:cubicBezTo>
                  <a:cubicBezTo>
                    <a:pt x="226" y="775"/>
                    <a:pt x="260" y="826"/>
                    <a:pt x="288" y="867"/>
                  </a:cubicBezTo>
                  <a:close/>
                  <a:moveTo>
                    <a:pt x="950" y="663"/>
                  </a:moveTo>
                  <a:cubicBezTo>
                    <a:pt x="943" y="657"/>
                    <a:pt x="932" y="658"/>
                    <a:pt x="926" y="666"/>
                  </a:cubicBezTo>
                  <a:cubicBezTo>
                    <a:pt x="652" y="1012"/>
                    <a:pt x="634" y="1035"/>
                    <a:pt x="633" y="1036"/>
                  </a:cubicBezTo>
                  <a:cubicBezTo>
                    <a:pt x="633" y="1036"/>
                    <a:pt x="633" y="1036"/>
                    <a:pt x="633" y="1036"/>
                  </a:cubicBezTo>
                  <a:cubicBezTo>
                    <a:pt x="622" y="760"/>
                    <a:pt x="604" y="346"/>
                    <a:pt x="604" y="346"/>
                  </a:cubicBezTo>
                  <a:cubicBezTo>
                    <a:pt x="603" y="336"/>
                    <a:pt x="596" y="328"/>
                    <a:pt x="586" y="328"/>
                  </a:cubicBezTo>
                  <a:cubicBezTo>
                    <a:pt x="576" y="327"/>
                    <a:pt x="568" y="335"/>
                    <a:pt x="567" y="346"/>
                  </a:cubicBezTo>
                  <a:cubicBezTo>
                    <a:pt x="559" y="563"/>
                    <a:pt x="548" y="902"/>
                    <a:pt x="541" y="1033"/>
                  </a:cubicBezTo>
                  <a:cubicBezTo>
                    <a:pt x="258" y="677"/>
                    <a:pt x="250" y="666"/>
                    <a:pt x="250" y="666"/>
                  </a:cubicBezTo>
                  <a:cubicBezTo>
                    <a:pt x="244" y="658"/>
                    <a:pt x="234" y="657"/>
                    <a:pt x="226" y="663"/>
                  </a:cubicBezTo>
                  <a:cubicBezTo>
                    <a:pt x="217" y="668"/>
                    <a:pt x="215" y="680"/>
                    <a:pt x="220" y="687"/>
                  </a:cubicBezTo>
                  <a:cubicBezTo>
                    <a:pt x="415" y="978"/>
                    <a:pt x="441" y="1016"/>
                    <a:pt x="441" y="1016"/>
                  </a:cubicBezTo>
                  <a:cubicBezTo>
                    <a:pt x="534" y="1154"/>
                    <a:pt x="534" y="1154"/>
                    <a:pt x="534" y="1154"/>
                  </a:cubicBezTo>
                  <a:cubicBezTo>
                    <a:pt x="528" y="1324"/>
                    <a:pt x="528" y="1284"/>
                    <a:pt x="528" y="1284"/>
                  </a:cubicBezTo>
                  <a:cubicBezTo>
                    <a:pt x="525" y="1336"/>
                    <a:pt x="525" y="1336"/>
                    <a:pt x="525" y="1336"/>
                  </a:cubicBezTo>
                  <a:cubicBezTo>
                    <a:pt x="525" y="1338"/>
                    <a:pt x="525" y="1340"/>
                    <a:pt x="525" y="1341"/>
                  </a:cubicBezTo>
                  <a:cubicBezTo>
                    <a:pt x="527" y="1375"/>
                    <a:pt x="555" y="1400"/>
                    <a:pt x="588" y="1400"/>
                  </a:cubicBezTo>
                  <a:cubicBezTo>
                    <a:pt x="622" y="1398"/>
                    <a:pt x="648" y="1370"/>
                    <a:pt x="647" y="1336"/>
                  </a:cubicBezTo>
                  <a:cubicBezTo>
                    <a:pt x="638" y="1120"/>
                    <a:pt x="638" y="1160"/>
                    <a:pt x="638" y="1160"/>
                  </a:cubicBezTo>
                  <a:cubicBezTo>
                    <a:pt x="737" y="1013"/>
                    <a:pt x="737" y="1013"/>
                    <a:pt x="737" y="1013"/>
                  </a:cubicBezTo>
                  <a:cubicBezTo>
                    <a:pt x="764" y="973"/>
                    <a:pt x="764" y="973"/>
                    <a:pt x="764" y="973"/>
                  </a:cubicBezTo>
                  <a:cubicBezTo>
                    <a:pt x="956" y="687"/>
                    <a:pt x="956" y="687"/>
                    <a:pt x="956" y="687"/>
                  </a:cubicBezTo>
                  <a:cubicBezTo>
                    <a:pt x="962" y="680"/>
                    <a:pt x="960" y="668"/>
                    <a:pt x="950" y="663"/>
                  </a:cubicBezTo>
                  <a:close/>
                  <a:moveTo>
                    <a:pt x="523" y="344"/>
                  </a:moveTo>
                  <a:cubicBezTo>
                    <a:pt x="524" y="343"/>
                    <a:pt x="524" y="343"/>
                    <a:pt x="524" y="343"/>
                  </a:cubicBezTo>
                  <a:cubicBezTo>
                    <a:pt x="525" y="310"/>
                    <a:pt x="552" y="284"/>
                    <a:pt x="584" y="284"/>
                  </a:cubicBezTo>
                  <a:cubicBezTo>
                    <a:pt x="586" y="284"/>
                    <a:pt x="587" y="284"/>
                    <a:pt x="589" y="284"/>
                  </a:cubicBezTo>
                  <a:cubicBezTo>
                    <a:pt x="619" y="286"/>
                    <a:pt x="644" y="309"/>
                    <a:pt x="648" y="340"/>
                  </a:cubicBezTo>
                  <a:cubicBezTo>
                    <a:pt x="648" y="342"/>
                    <a:pt x="648" y="342"/>
                    <a:pt x="648" y="342"/>
                  </a:cubicBezTo>
                  <a:cubicBezTo>
                    <a:pt x="648" y="344"/>
                    <a:pt x="648" y="344"/>
                    <a:pt x="648" y="344"/>
                  </a:cubicBezTo>
                  <a:cubicBezTo>
                    <a:pt x="648" y="346"/>
                    <a:pt x="652" y="425"/>
                    <a:pt x="656" y="536"/>
                  </a:cubicBezTo>
                  <a:cubicBezTo>
                    <a:pt x="704" y="480"/>
                    <a:pt x="758" y="396"/>
                    <a:pt x="758" y="303"/>
                  </a:cubicBezTo>
                  <a:cubicBezTo>
                    <a:pt x="758" y="136"/>
                    <a:pt x="586" y="0"/>
                    <a:pt x="586" y="0"/>
                  </a:cubicBezTo>
                  <a:cubicBezTo>
                    <a:pt x="586" y="0"/>
                    <a:pt x="415" y="136"/>
                    <a:pt x="415" y="303"/>
                  </a:cubicBezTo>
                  <a:cubicBezTo>
                    <a:pt x="415" y="397"/>
                    <a:pt x="469" y="480"/>
                    <a:pt x="516" y="536"/>
                  </a:cubicBezTo>
                  <a:cubicBezTo>
                    <a:pt x="519" y="467"/>
                    <a:pt x="521" y="402"/>
                    <a:pt x="523" y="344"/>
                  </a:cubicBezTo>
                  <a:close/>
                  <a:moveTo>
                    <a:pt x="1124" y="426"/>
                  </a:moveTo>
                  <a:cubicBezTo>
                    <a:pt x="1124" y="426"/>
                    <a:pt x="919" y="434"/>
                    <a:pt x="826" y="560"/>
                  </a:cubicBezTo>
                  <a:cubicBezTo>
                    <a:pt x="776" y="630"/>
                    <a:pt x="769" y="720"/>
                    <a:pt x="773" y="788"/>
                  </a:cubicBezTo>
                  <a:cubicBezTo>
                    <a:pt x="806" y="747"/>
                    <a:pt x="845" y="697"/>
                    <a:pt x="892" y="639"/>
                  </a:cubicBezTo>
                  <a:cubicBezTo>
                    <a:pt x="904" y="624"/>
                    <a:pt x="921" y="615"/>
                    <a:pt x="940" y="615"/>
                  </a:cubicBezTo>
                  <a:cubicBezTo>
                    <a:pt x="953" y="615"/>
                    <a:pt x="965" y="619"/>
                    <a:pt x="975" y="626"/>
                  </a:cubicBezTo>
                  <a:cubicBezTo>
                    <a:pt x="989" y="635"/>
                    <a:pt x="999" y="650"/>
                    <a:pt x="1002" y="666"/>
                  </a:cubicBezTo>
                  <a:cubicBezTo>
                    <a:pt x="1005" y="682"/>
                    <a:pt x="1001" y="699"/>
                    <a:pt x="992" y="712"/>
                  </a:cubicBezTo>
                  <a:cubicBezTo>
                    <a:pt x="887" y="868"/>
                    <a:pt x="887" y="868"/>
                    <a:pt x="887" y="868"/>
                  </a:cubicBezTo>
                  <a:cubicBezTo>
                    <a:pt x="953" y="851"/>
                    <a:pt x="1036" y="817"/>
                    <a:pt x="1086" y="749"/>
                  </a:cubicBezTo>
                  <a:cubicBezTo>
                    <a:pt x="1179" y="623"/>
                    <a:pt x="1124" y="426"/>
                    <a:pt x="1124" y="4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31">
              <a:extLst>
                <a:ext uri="{FF2B5EF4-FFF2-40B4-BE49-F238E27FC236}">
                  <a16:creationId xmlns="" xmlns:a16="http://schemas.microsoft.com/office/drawing/2014/main" id="{1E6BA5C2-3D45-4214-A4CC-A51C0116608C}"/>
                </a:ext>
              </a:extLst>
            </p:cNvPr>
            <p:cNvSpPr>
              <a:spLocks noEditPoints="1"/>
            </p:cNvSpPr>
            <p:nvPr/>
          </p:nvSpPr>
          <p:spPr bwMode="auto">
            <a:xfrm>
              <a:off x="2429" y="3203"/>
              <a:ext cx="2825" cy="658"/>
            </a:xfrm>
            <a:custGeom>
              <a:avLst/>
              <a:gdLst>
                <a:gd name="T0" fmla="*/ 1508 w 1508"/>
                <a:gd name="T1" fmla="*/ 329 h 351"/>
                <a:gd name="T2" fmla="*/ 1486 w 1508"/>
                <a:gd name="T3" fmla="*/ 351 h 351"/>
                <a:gd name="T4" fmla="*/ 1213 w 1508"/>
                <a:gd name="T5" fmla="*/ 223 h 351"/>
                <a:gd name="T6" fmla="*/ 855 w 1508"/>
                <a:gd name="T7" fmla="*/ 44 h 351"/>
                <a:gd name="T8" fmla="*/ 853 w 1508"/>
                <a:gd name="T9" fmla="*/ 0 h 351"/>
                <a:gd name="T10" fmla="*/ 1239 w 1508"/>
                <a:gd name="T11" fmla="*/ 187 h 351"/>
                <a:gd name="T12" fmla="*/ 1486 w 1508"/>
                <a:gd name="T13" fmla="*/ 307 h 351"/>
                <a:gd name="T14" fmla="*/ 1508 w 1508"/>
                <a:gd name="T15" fmla="*/ 329 h 351"/>
                <a:gd name="T16" fmla="*/ 655 w 1508"/>
                <a:gd name="T17" fmla="*/ 0 h 351"/>
                <a:gd name="T18" fmla="*/ 269 w 1508"/>
                <a:gd name="T19" fmla="*/ 187 h 351"/>
                <a:gd name="T20" fmla="*/ 22 w 1508"/>
                <a:gd name="T21" fmla="*/ 307 h 351"/>
                <a:gd name="T22" fmla="*/ 0 w 1508"/>
                <a:gd name="T23" fmla="*/ 329 h 351"/>
                <a:gd name="T24" fmla="*/ 22 w 1508"/>
                <a:gd name="T25" fmla="*/ 351 h 351"/>
                <a:gd name="T26" fmla="*/ 295 w 1508"/>
                <a:gd name="T27" fmla="*/ 223 h 351"/>
                <a:gd name="T28" fmla="*/ 653 w 1508"/>
                <a:gd name="T29" fmla="*/ 44 h 351"/>
                <a:gd name="T30" fmla="*/ 655 w 1508"/>
                <a:gd name="T31"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8" h="351">
                  <a:moveTo>
                    <a:pt x="1508" y="329"/>
                  </a:moveTo>
                  <a:cubicBezTo>
                    <a:pt x="1508" y="341"/>
                    <a:pt x="1499" y="351"/>
                    <a:pt x="1486" y="351"/>
                  </a:cubicBezTo>
                  <a:cubicBezTo>
                    <a:pt x="1395" y="351"/>
                    <a:pt x="1311" y="292"/>
                    <a:pt x="1213" y="223"/>
                  </a:cubicBezTo>
                  <a:cubicBezTo>
                    <a:pt x="1111" y="151"/>
                    <a:pt x="998" y="71"/>
                    <a:pt x="855" y="44"/>
                  </a:cubicBezTo>
                  <a:cubicBezTo>
                    <a:pt x="854" y="28"/>
                    <a:pt x="854" y="13"/>
                    <a:pt x="853" y="0"/>
                  </a:cubicBezTo>
                  <a:cubicBezTo>
                    <a:pt x="1011" y="27"/>
                    <a:pt x="1136" y="114"/>
                    <a:pt x="1239" y="187"/>
                  </a:cubicBezTo>
                  <a:cubicBezTo>
                    <a:pt x="1330" y="251"/>
                    <a:pt x="1409" y="307"/>
                    <a:pt x="1486" y="307"/>
                  </a:cubicBezTo>
                  <a:cubicBezTo>
                    <a:pt x="1499" y="307"/>
                    <a:pt x="1508" y="317"/>
                    <a:pt x="1508" y="329"/>
                  </a:cubicBezTo>
                  <a:close/>
                  <a:moveTo>
                    <a:pt x="655" y="0"/>
                  </a:moveTo>
                  <a:cubicBezTo>
                    <a:pt x="496" y="27"/>
                    <a:pt x="372" y="114"/>
                    <a:pt x="269" y="187"/>
                  </a:cubicBezTo>
                  <a:cubicBezTo>
                    <a:pt x="178" y="251"/>
                    <a:pt x="99" y="307"/>
                    <a:pt x="22" y="307"/>
                  </a:cubicBezTo>
                  <a:cubicBezTo>
                    <a:pt x="9" y="307"/>
                    <a:pt x="0" y="317"/>
                    <a:pt x="0" y="329"/>
                  </a:cubicBezTo>
                  <a:cubicBezTo>
                    <a:pt x="0" y="341"/>
                    <a:pt x="9" y="351"/>
                    <a:pt x="22" y="351"/>
                  </a:cubicBezTo>
                  <a:cubicBezTo>
                    <a:pt x="113" y="351"/>
                    <a:pt x="197" y="292"/>
                    <a:pt x="295" y="223"/>
                  </a:cubicBezTo>
                  <a:cubicBezTo>
                    <a:pt x="397" y="151"/>
                    <a:pt x="510" y="71"/>
                    <a:pt x="653" y="44"/>
                  </a:cubicBezTo>
                  <a:cubicBezTo>
                    <a:pt x="653" y="35"/>
                    <a:pt x="654" y="21"/>
                    <a:pt x="65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0">
            <a:extLst>
              <a:ext uri="{FF2B5EF4-FFF2-40B4-BE49-F238E27FC236}">
                <a16:creationId xmlns="" xmlns:a16="http://schemas.microsoft.com/office/drawing/2014/main" id="{7B10D3B3-FA63-42E8-BA65-E5F852CEAA53}"/>
              </a:ext>
            </a:extLst>
          </p:cNvPr>
          <p:cNvGrpSpPr>
            <a:grpSpLocks noChangeAspect="1"/>
          </p:cNvGrpSpPr>
          <p:nvPr/>
        </p:nvGrpSpPr>
        <p:grpSpPr bwMode="auto">
          <a:xfrm>
            <a:off x="5299290" y="3564741"/>
            <a:ext cx="1549096" cy="1550532"/>
            <a:chOff x="1682" y="0"/>
            <a:chExt cx="4316" cy="4320"/>
          </a:xfrm>
        </p:grpSpPr>
        <p:sp>
          <p:nvSpPr>
            <p:cNvPr id="25" name="AutoShape 19">
              <a:extLst>
                <a:ext uri="{FF2B5EF4-FFF2-40B4-BE49-F238E27FC236}">
                  <a16:creationId xmlns="" xmlns:a16="http://schemas.microsoft.com/office/drawing/2014/main" id="{461E4EC3-689E-4A9D-95F3-1585B8D4019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1">
              <a:extLst>
                <a:ext uri="{FF2B5EF4-FFF2-40B4-BE49-F238E27FC236}">
                  <a16:creationId xmlns="" xmlns:a16="http://schemas.microsoft.com/office/drawing/2014/main" id="{E8BB6939-772B-4EEF-A273-83F7E9D0BCA1}"/>
                </a:ext>
              </a:extLst>
            </p:cNvPr>
            <p:cNvSpPr>
              <a:spLocks/>
            </p:cNvSpPr>
            <p:nvPr/>
          </p:nvSpPr>
          <p:spPr bwMode="auto">
            <a:xfrm>
              <a:off x="3057" y="975"/>
              <a:ext cx="2117" cy="2149"/>
            </a:xfrm>
            <a:custGeom>
              <a:avLst/>
              <a:gdLst>
                <a:gd name="T0" fmla="*/ 1128 w 1130"/>
                <a:gd name="T1" fmla="*/ 264 h 1146"/>
                <a:gd name="T2" fmla="*/ 1128 w 1130"/>
                <a:gd name="T3" fmla="*/ 272 h 1146"/>
                <a:gd name="T4" fmla="*/ 1074 w 1130"/>
                <a:gd name="T5" fmla="*/ 392 h 1146"/>
                <a:gd name="T6" fmla="*/ 1074 w 1130"/>
                <a:gd name="T7" fmla="*/ 392 h 1146"/>
                <a:gd name="T8" fmla="*/ 741 w 1130"/>
                <a:gd name="T9" fmla="*/ 644 h 1146"/>
                <a:gd name="T10" fmla="*/ 732 w 1130"/>
                <a:gd name="T11" fmla="*/ 630 h 1146"/>
                <a:gd name="T12" fmla="*/ 796 w 1130"/>
                <a:gd name="T13" fmla="*/ 568 h 1146"/>
                <a:gd name="T14" fmla="*/ 386 w 1130"/>
                <a:gd name="T15" fmla="*/ 688 h 1146"/>
                <a:gd name="T16" fmla="*/ 376 w 1130"/>
                <a:gd name="T17" fmla="*/ 1132 h 1146"/>
                <a:gd name="T18" fmla="*/ 29 w 1130"/>
                <a:gd name="T19" fmla="*/ 494 h 1146"/>
                <a:gd name="T20" fmla="*/ 146 w 1130"/>
                <a:gd name="T21" fmla="*/ 443 h 1146"/>
                <a:gd name="T22" fmla="*/ 281 w 1130"/>
                <a:gd name="T23" fmla="*/ 233 h 1146"/>
                <a:gd name="T24" fmla="*/ 277 w 1130"/>
                <a:gd name="T25" fmla="*/ 97 h 1146"/>
                <a:gd name="T26" fmla="*/ 665 w 1130"/>
                <a:gd name="T27" fmla="*/ 9 h 1146"/>
                <a:gd name="T28" fmla="*/ 1128 w 1130"/>
                <a:gd name="T29" fmla="*/ 26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0" h="1146">
                  <a:moveTo>
                    <a:pt x="1128" y="264"/>
                  </a:moveTo>
                  <a:cubicBezTo>
                    <a:pt x="1128" y="272"/>
                    <a:pt x="1128" y="272"/>
                    <a:pt x="1128" y="272"/>
                  </a:cubicBezTo>
                  <a:cubicBezTo>
                    <a:pt x="1125" y="316"/>
                    <a:pt x="1106" y="355"/>
                    <a:pt x="1074" y="392"/>
                  </a:cubicBezTo>
                  <a:cubicBezTo>
                    <a:pt x="1074" y="392"/>
                    <a:pt x="1074" y="392"/>
                    <a:pt x="1074" y="392"/>
                  </a:cubicBezTo>
                  <a:cubicBezTo>
                    <a:pt x="1025" y="461"/>
                    <a:pt x="841" y="592"/>
                    <a:pt x="741" y="644"/>
                  </a:cubicBezTo>
                  <a:cubicBezTo>
                    <a:pt x="732" y="648"/>
                    <a:pt x="724" y="636"/>
                    <a:pt x="732" y="630"/>
                  </a:cubicBezTo>
                  <a:cubicBezTo>
                    <a:pt x="763" y="606"/>
                    <a:pt x="783" y="585"/>
                    <a:pt x="796" y="568"/>
                  </a:cubicBezTo>
                  <a:cubicBezTo>
                    <a:pt x="598" y="649"/>
                    <a:pt x="386" y="688"/>
                    <a:pt x="386" y="688"/>
                  </a:cubicBezTo>
                  <a:cubicBezTo>
                    <a:pt x="208" y="866"/>
                    <a:pt x="430" y="1108"/>
                    <a:pt x="376" y="1132"/>
                  </a:cubicBezTo>
                  <a:cubicBezTo>
                    <a:pt x="345" y="1146"/>
                    <a:pt x="0" y="848"/>
                    <a:pt x="29" y="494"/>
                  </a:cubicBezTo>
                  <a:cubicBezTo>
                    <a:pt x="71" y="485"/>
                    <a:pt x="111" y="467"/>
                    <a:pt x="146" y="443"/>
                  </a:cubicBezTo>
                  <a:cubicBezTo>
                    <a:pt x="218" y="393"/>
                    <a:pt x="266" y="318"/>
                    <a:pt x="281" y="233"/>
                  </a:cubicBezTo>
                  <a:cubicBezTo>
                    <a:pt x="289" y="187"/>
                    <a:pt x="288" y="141"/>
                    <a:pt x="277" y="97"/>
                  </a:cubicBezTo>
                  <a:cubicBezTo>
                    <a:pt x="376" y="37"/>
                    <a:pt x="505" y="0"/>
                    <a:pt x="665" y="9"/>
                  </a:cubicBezTo>
                  <a:cubicBezTo>
                    <a:pt x="1008" y="30"/>
                    <a:pt x="1130" y="188"/>
                    <a:pt x="1128" y="2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2">
              <a:extLst>
                <a:ext uri="{FF2B5EF4-FFF2-40B4-BE49-F238E27FC236}">
                  <a16:creationId xmlns="" xmlns:a16="http://schemas.microsoft.com/office/drawing/2014/main" id="{91B78A8A-24A5-4FE3-9D58-36E1A85205F1}"/>
                </a:ext>
              </a:extLst>
            </p:cNvPr>
            <p:cNvSpPr>
              <a:spLocks/>
            </p:cNvSpPr>
            <p:nvPr/>
          </p:nvSpPr>
          <p:spPr bwMode="auto">
            <a:xfrm>
              <a:off x="2590" y="1586"/>
              <a:ext cx="300" cy="328"/>
            </a:xfrm>
            <a:custGeom>
              <a:avLst/>
              <a:gdLst>
                <a:gd name="T0" fmla="*/ 38 w 160"/>
                <a:gd name="T1" fmla="*/ 175 h 175"/>
                <a:gd name="T2" fmla="*/ 16 w 160"/>
                <a:gd name="T3" fmla="*/ 156 h 175"/>
                <a:gd name="T4" fmla="*/ 1 w 160"/>
                <a:gd name="T5" fmla="*/ 42 h 175"/>
                <a:gd name="T6" fmla="*/ 5 w 160"/>
                <a:gd name="T7" fmla="*/ 26 h 175"/>
                <a:gd name="T8" fmla="*/ 19 w 160"/>
                <a:gd name="T9" fmla="*/ 17 h 175"/>
                <a:gd name="T10" fmla="*/ 133 w 160"/>
                <a:gd name="T11" fmla="*/ 2 h 175"/>
                <a:gd name="T12" fmla="*/ 158 w 160"/>
                <a:gd name="T13" fmla="*/ 21 h 175"/>
                <a:gd name="T14" fmla="*/ 139 w 160"/>
                <a:gd name="T15" fmla="*/ 46 h 175"/>
                <a:gd name="T16" fmla="*/ 47 w 160"/>
                <a:gd name="T17" fmla="*/ 58 h 175"/>
                <a:gd name="T18" fmla="*/ 59 w 160"/>
                <a:gd name="T19" fmla="*/ 150 h 175"/>
                <a:gd name="T20" fmla="*/ 41 w 160"/>
                <a:gd name="T21" fmla="*/ 175 h 175"/>
                <a:gd name="T22" fmla="*/ 38 w 160"/>
                <a:gd name="T23"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75">
                  <a:moveTo>
                    <a:pt x="38" y="175"/>
                  </a:moveTo>
                  <a:cubicBezTo>
                    <a:pt x="27" y="175"/>
                    <a:pt x="17" y="167"/>
                    <a:pt x="16" y="156"/>
                  </a:cubicBezTo>
                  <a:cubicBezTo>
                    <a:pt x="1" y="42"/>
                    <a:pt x="1" y="42"/>
                    <a:pt x="1" y="42"/>
                  </a:cubicBezTo>
                  <a:cubicBezTo>
                    <a:pt x="0" y="36"/>
                    <a:pt x="1" y="30"/>
                    <a:pt x="5" y="26"/>
                  </a:cubicBezTo>
                  <a:cubicBezTo>
                    <a:pt x="8" y="21"/>
                    <a:pt x="14" y="18"/>
                    <a:pt x="19" y="17"/>
                  </a:cubicBezTo>
                  <a:cubicBezTo>
                    <a:pt x="133" y="2"/>
                    <a:pt x="133" y="2"/>
                    <a:pt x="133" y="2"/>
                  </a:cubicBezTo>
                  <a:cubicBezTo>
                    <a:pt x="145" y="0"/>
                    <a:pt x="156" y="9"/>
                    <a:pt x="158" y="21"/>
                  </a:cubicBezTo>
                  <a:cubicBezTo>
                    <a:pt x="160" y="33"/>
                    <a:pt x="151" y="44"/>
                    <a:pt x="139" y="46"/>
                  </a:cubicBezTo>
                  <a:cubicBezTo>
                    <a:pt x="47" y="58"/>
                    <a:pt x="47" y="58"/>
                    <a:pt x="47" y="58"/>
                  </a:cubicBezTo>
                  <a:cubicBezTo>
                    <a:pt x="59" y="150"/>
                    <a:pt x="59" y="150"/>
                    <a:pt x="59" y="150"/>
                  </a:cubicBezTo>
                  <a:cubicBezTo>
                    <a:pt x="61" y="162"/>
                    <a:pt x="53" y="173"/>
                    <a:pt x="41" y="175"/>
                  </a:cubicBezTo>
                  <a:cubicBezTo>
                    <a:pt x="40" y="175"/>
                    <a:pt x="39" y="175"/>
                    <a:pt x="38" y="175"/>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3">
              <a:extLst>
                <a:ext uri="{FF2B5EF4-FFF2-40B4-BE49-F238E27FC236}">
                  <a16:creationId xmlns="" xmlns:a16="http://schemas.microsoft.com/office/drawing/2014/main" id="{95FF690B-FB98-4354-8E9B-95528C451A03}"/>
                </a:ext>
              </a:extLst>
            </p:cNvPr>
            <p:cNvSpPr>
              <a:spLocks noEditPoints="1"/>
            </p:cNvSpPr>
            <p:nvPr/>
          </p:nvSpPr>
          <p:spPr bwMode="auto">
            <a:xfrm>
              <a:off x="2426" y="711"/>
              <a:ext cx="2999" cy="3148"/>
            </a:xfrm>
            <a:custGeom>
              <a:avLst/>
              <a:gdLst>
                <a:gd name="T0" fmla="*/ 1449 w 1601"/>
                <a:gd name="T1" fmla="*/ 1064 h 1679"/>
                <a:gd name="T2" fmla="*/ 1422 w 1601"/>
                <a:gd name="T3" fmla="*/ 1364 h 1679"/>
                <a:gd name="T4" fmla="*/ 1130 w 1601"/>
                <a:gd name="T5" fmla="*/ 1390 h 1679"/>
                <a:gd name="T6" fmla="*/ 1110 w 1601"/>
                <a:gd name="T7" fmla="*/ 1678 h 1679"/>
                <a:gd name="T8" fmla="*/ 643 w 1601"/>
                <a:gd name="T9" fmla="*/ 1589 h 1679"/>
                <a:gd name="T10" fmla="*/ 633 w 1601"/>
                <a:gd name="T11" fmla="*/ 1278 h 1679"/>
                <a:gd name="T12" fmla="*/ 677 w 1601"/>
                <a:gd name="T13" fmla="*/ 1558 h 1679"/>
                <a:gd name="T14" fmla="*/ 1086 w 1601"/>
                <a:gd name="T15" fmla="*/ 1365 h 1679"/>
                <a:gd name="T16" fmla="*/ 1114 w 1601"/>
                <a:gd name="T17" fmla="*/ 1344 h 1679"/>
                <a:gd name="T18" fmla="*/ 1390 w 1601"/>
                <a:gd name="T19" fmla="*/ 1334 h 1679"/>
                <a:gd name="T20" fmla="*/ 1403 w 1601"/>
                <a:gd name="T21" fmla="*/ 1042 h 1679"/>
                <a:gd name="T22" fmla="*/ 1428 w 1601"/>
                <a:gd name="T23" fmla="*/ 1019 h 1679"/>
                <a:gd name="T24" fmla="*/ 1504 w 1601"/>
                <a:gd name="T25" fmla="*/ 922 h 1679"/>
                <a:gd name="T26" fmla="*/ 1418 w 1601"/>
                <a:gd name="T27" fmla="*/ 690 h 1679"/>
                <a:gd name="T28" fmla="*/ 1410 w 1601"/>
                <a:gd name="T29" fmla="*/ 597 h 1679"/>
                <a:gd name="T30" fmla="*/ 1459 w 1601"/>
                <a:gd name="T31" fmla="*/ 630 h 1679"/>
                <a:gd name="T32" fmla="*/ 1469 w 1601"/>
                <a:gd name="T33" fmla="*/ 785 h 1679"/>
                <a:gd name="T34" fmla="*/ 1589 w 1601"/>
                <a:gd name="T35" fmla="*/ 1004 h 1679"/>
                <a:gd name="T36" fmla="*/ 158 w 1601"/>
                <a:gd name="T37" fmla="*/ 115 h 1679"/>
                <a:gd name="T38" fmla="*/ 340 w 1601"/>
                <a:gd name="T39" fmla="*/ 75 h 1679"/>
                <a:gd name="T40" fmla="*/ 381 w 1601"/>
                <a:gd name="T41" fmla="*/ 130 h 1679"/>
                <a:gd name="T42" fmla="*/ 384 w 1601"/>
                <a:gd name="T43" fmla="*/ 174 h 1679"/>
                <a:gd name="T44" fmla="*/ 501 w 1601"/>
                <a:gd name="T45" fmla="*/ 159 h 1679"/>
                <a:gd name="T46" fmla="*/ 519 w 1601"/>
                <a:gd name="T47" fmla="*/ 134 h 1679"/>
                <a:gd name="T48" fmla="*/ 479 w 1601"/>
                <a:gd name="T49" fmla="*/ 1 h 1679"/>
                <a:gd name="T50" fmla="*/ 468 w 1601"/>
                <a:gd name="T51" fmla="*/ 84 h 1679"/>
                <a:gd name="T52" fmla="*/ 132 w 1601"/>
                <a:gd name="T53" fmla="*/ 79 h 1679"/>
                <a:gd name="T54" fmla="*/ 54 w 1601"/>
                <a:gd name="T55" fmla="*/ 471 h 1679"/>
                <a:gd name="T56" fmla="*/ 89 w 1601"/>
                <a:gd name="T57" fmla="*/ 444 h 1679"/>
                <a:gd name="T58" fmla="*/ 550 w 1601"/>
                <a:gd name="T59" fmla="*/ 177 h 1679"/>
                <a:gd name="T60" fmla="*/ 538 w 1601"/>
                <a:gd name="T61" fmla="*/ 359 h 1679"/>
                <a:gd name="T62" fmla="*/ 254 w 1601"/>
                <a:gd name="T63" fmla="*/ 556 h 1679"/>
                <a:gd name="T64" fmla="*/ 227 w 1601"/>
                <a:gd name="T65" fmla="*/ 513 h 1679"/>
                <a:gd name="T66" fmla="*/ 221 w 1601"/>
                <a:gd name="T67" fmla="*/ 469 h 1679"/>
                <a:gd name="T68" fmla="*/ 93 w 1601"/>
                <a:gd name="T69" fmla="*/ 493 h 1679"/>
                <a:gd name="T70" fmla="*/ 104 w 1601"/>
                <a:gd name="T71" fmla="*/ 623 h 1679"/>
                <a:gd name="T72" fmla="*/ 129 w 1601"/>
                <a:gd name="T73" fmla="*/ 642 h 1679"/>
                <a:gd name="T74" fmla="*/ 139 w 1601"/>
                <a:gd name="T75" fmla="*/ 557 h 1679"/>
                <a:gd name="T76" fmla="*/ 298 w 1601"/>
                <a:gd name="T77" fmla="*/ 604 h 1679"/>
                <a:gd name="T78" fmla="*/ 581 w 1601"/>
                <a:gd name="T79" fmla="*/ 367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1" h="1679">
                  <a:moveTo>
                    <a:pt x="1589" y="1004"/>
                  </a:moveTo>
                  <a:cubicBezTo>
                    <a:pt x="1581" y="1022"/>
                    <a:pt x="1541" y="1066"/>
                    <a:pt x="1449" y="1064"/>
                  </a:cubicBezTo>
                  <a:cubicBezTo>
                    <a:pt x="1451" y="1091"/>
                    <a:pt x="1453" y="1134"/>
                    <a:pt x="1453" y="1179"/>
                  </a:cubicBezTo>
                  <a:cubicBezTo>
                    <a:pt x="1453" y="1315"/>
                    <a:pt x="1436" y="1349"/>
                    <a:pt x="1422" y="1364"/>
                  </a:cubicBezTo>
                  <a:cubicBezTo>
                    <a:pt x="1408" y="1378"/>
                    <a:pt x="1375" y="1397"/>
                    <a:pt x="1245" y="1396"/>
                  </a:cubicBezTo>
                  <a:cubicBezTo>
                    <a:pt x="1209" y="1395"/>
                    <a:pt x="1161" y="1393"/>
                    <a:pt x="1130" y="1390"/>
                  </a:cubicBezTo>
                  <a:cubicBezTo>
                    <a:pt x="1130" y="1656"/>
                    <a:pt x="1130" y="1656"/>
                    <a:pt x="1130" y="1656"/>
                  </a:cubicBezTo>
                  <a:cubicBezTo>
                    <a:pt x="1130" y="1668"/>
                    <a:pt x="1121" y="1678"/>
                    <a:pt x="1110" y="1678"/>
                  </a:cubicBezTo>
                  <a:cubicBezTo>
                    <a:pt x="1107" y="1678"/>
                    <a:pt x="1091" y="1679"/>
                    <a:pt x="1067" y="1679"/>
                  </a:cubicBezTo>
                  <a:cubicBezTo>
                    <a:pt x="979" y="1679"/>
                    <a:pt x="776" y="1670"/>
                    <a:pt x="643" y="1589"/>
                  </a:cubicBezTo>
                  <a:cubicBezTo>
                    <a:pt x="637" y="1586"/>
                    <a:pt x="633" y="1578"/>
                    <a:pt x="633" y="1571"/>
                  </a:cubicBezTo>
                  <a:cubicBezTo>
                    <a:pt x="633" y="1278"/>
                    <a:pt x="633" y="1278"/>
                    <a:pt x="633" y="1278"/>
                  </a:cubicBezTo>
                  <a:cubicBezTo>
                    <a:pt x="649" y="1291"/>
                    <a:pt x="664" y="1301"/>
                    <a:pt x="677" y="1307"/>
                  </a:cubicBezTo>
                  <a:cubicBezTo>
                    <a:pt x="677" y="1558"/>
                    <a:pt x="677" y="1558"/>
                    <a:pt x="677" y="1558"/>
                  </a:cubicBezTo>
                  <a:cubicBezTo>
                    <a:pt x="811" y="1632"/>
                    <a:pt x="1020" y="1636"/>
                    <a:pt x="1086" y="1635"/>
                  </a:cubicBezTo>
                  <a:cubicBezTo>
                    <a:pt x="1086" y="1365"/>
                    <a:pt x="1086" y="1365"/>
                    <a:pt x="1086" y="1365"/>
                  </a:cubicBezTo>
                  <a:cubicBezTo>
                    <a:pt x="1086" y="1358"/>
                    <a:pt x="1090" y="1351"/>
                    <a:pt x="1096" y="1347"/>
                  </a:cubicBezTo>
                  <a:cubicBezTo>
                    <a:pt x="1102" y="1344"/>
                    <a:pt x="1108" y="1343"/>
                    <a:pt x="1114" y="1344"/>
                  </a:cubicBezTo>
                  <a:cubicBezTo>
                    <a:pt x="1123" y="1346"/>
                    <a:pt x="1185" y="1351"/>
                    <a:pt x="1251" y="1352"/>
                  </a:cubicBezTo>
                  <a:cubicBezTo>
                    <a:pt x="1369" y="1352"/>
                    <a:pt x="1388" y="1335"/>
                    <a:pt x="1390" y="1334"/>
                  </a:cubicBezTo>
                  <a:cubicBezTo>
                    <a:pt x="1392" y="1332"/>
                    <a:pt x="1409" y="1311"/>
                    <a:pt x="1409" y="1180"/>
                  </a:cubicBezTo>
                  <a:cubicBezTo>
                    <a:pt x="1409" y="1109"/>
                    <a:pt x="1404" y="1043"/>
                    <a:pt x="1403" y="1042"/>
                  </a:cubicBezTo>
                  <a:cubicBezTo>
                    <a:pt x="1403" y="1036"/>
                    <a:pt x="1405" y="1029"/>
                    <a:pt x="1410" y="1025"/>
                  </a:cubicBezTo>
                  <a:cubicBezTo>
                    <a:pt x="1415" y="1020"/>
                    <a:pt x="1421" y="1018"/>
                    <a:pt x="1428" y="1019"/>
                  </a:cubicBezTo>
                  <a:cubicBezTo>
                    <a:pt x="1506" y="1027"/>
                    <a:pt x="1540" y="999"/>
                    <a:pt x="1547" y="988"/>
                  </a:cubicBezTo>
                  <a:cubicBezTo>
                    <a:pt x="1546" y="979"/>
                    <a:pt x="1534" y="951"/>
                    <a:pt x="1504" y="922"/>
                  </a:cubicBezTo>
                  <a:cubicBezTo>
                    <a:pt x="1462" y="880"/>
                    <a:pt x="1436" y="820"/>
                    <a:pt x="1428" y="802"/>
                  </a:cubicBezTo>
                  <a:cubicBezTo>
                    <a:pt x="1420" y="783"/>
                    <a:pt x="1419" y="745"/>
                    <a:pt x="1418" y="690"/>
                  </a:cubicBezTo>
                  <a:cubicBezTo>
                    <a:pt x="1417" y="669"/>
                    <a:pt x="1416" y="648"/>
                    <a:pt x="1415" y="634"/>
                  </a:cubicBezTo>
                  <a:cubicBezTo>
                    <a:pt x="1414" y="623"/>
                    <a:pt x="1412" y="611"/>
                    <a:pt x="1410" y="597"/>
                  </a:cubicBezTo>
                  <a:cubicBezTo>
                    <a:pt x="1424" y="584"/>
                    <a:pt x="1437" y="571"/>
                    <a:pt x="1448" y="558"/>
                  </a:cubicBezTo>
                  <a:cubicBezTo>
                    <a:pt x="1453" y="583"/>
                    <a:pt x="1457" y="611"/>
                    <a:pt x="1459" y="630"/>
                  </a:cubicBezTo>
                  <a:cubicBezTo>
                    <a:pt x="1460" y="646"/>
                    <a:pt x="1461" y="667"/>
                    <a:pt x="1461" y="689"/>
                  </a:cubicBezTo>
                  <a:cubicBezTo>
                    <a:pt x="1462" y="724"/>
                    <a:pt x="1464" y="772"/>
                    <a:pt x="1469" y="785"/>
                  </a:cubicBezTo>
                  <a:cubicBezTo>
                    <a:pt x="1482" y="818"/>
                    <a:pt x="1506" y="862"/>
                    <a:pt x="1535" y="891"/>
                  </a:cubicBezTo>
                  <a:cubicBezTo>
                    <a:pt x="1570" y="925"/>
                    <a:pt x="1601" y="975"/>
                    <a:pt x="1589" y="1004"/>
                  </a:cubicBezTo>
                  <a:close/>
                  <a:moveTo>
                    <a:pt x="57" y="273"/>
                  </a:moveTo>
                  <a:cubicBezTo>
                    <a:pt x="68" y="208"/>
                    <a:pt x="104" y="152"/>
                    <a:pt x="158" y="115"/>
                  </a:cubicBezTo>
                  <a:cubicBezTo>
                    <a:pt x="199" y="86"/>
                    <a:pt x="247" y="71"/>
                    <a:pt x="297" y="71"/>
                  </a:cubicBezTo>
                  <a:cubicBezTo>
                    <a:pt x="311" y="71"/>
                    <a:pt x="326" y="73"/>
                    <a:pt x="340" y="75"/>
                  </a:cubicBezTo>
                  <a:cubicBezTo>
                    <a:pt x="379" y="82"/>
                    <a:pt x="415" y="98"/>
                    <a:pt x="446" y="122"/>
                  </a:cubicBezTo>
                  <a:cubicBezTo>
                    <a:pt x="381" y="130"/>
                    <a:pt x="381" y="130"/>
                    <a:pt x="381" y="130"/>
                  </a:cubicBezTo>
                  <a:cubicBezTo>
                    <a:pt x="369" y="132"/>
                    <a:pt x="360" y="143"/>
                    <a:pt x="362" y="155"/>
                  </a:cubicBezTo>
                  <a:cubicBezTo>
                    <a:pt x="363" y="166"/>
                    <a:pt x="373" y="174"/>
                    <a:pt x="384" y="174"/>
                  </a:cubicBezTo>
                  <a:cubicBezTo>
                    <a:pt x="385" y="174"/>
                    <a:pt x="386" y="174"/>
                    <a:pt x="387" y="174"/>
                  </a:cubicBezTo>
                  <a:cubicBezTo>
                    <a:pt x="501" y="159"/>
                    <a:pt x="501" y="159"/>
                    <a:pt x="501" y="159"/>
                  </a:cubicBezTo>
                  <a:cubicBezTo>
                    <a:pt x="506" y="158"/>
                    <a:pt x="512" y="155"/>
                    <a:pt x="515" y="150"/>
                  </a:cubicBezTo>
                  <a:cubicBezTo>
                    <a:pt x="519" y="146"/>
                    <a:pt x="520" y="140"/>
                    <a:pt x="519" y="134"/>
                  </a:cubicBezTo>
                  <a:cubicBezTo>
                    <a:pt x="504" y="20"/>
                    <a:pt x="504" y="20"/>
                    <a:pt x="504" y="20"/>
                  </a:cubicBezTo>
                  <a:cubicBezTo>
                    <a:pt x="503" y="8"/>
                    <a:pt x="491" y="0"/>
                    <a:pt x="479" y="1"/>
                  </a:cubicBezTo>
                  <a:cubicBezTo>
                    <a:pt x="467" y="3"/>
                    <a:pt x="459" y="14"/>
                    <a:pt x="461" y="26"/>
                  </a:cubicBezTo>
                  <a:cubicBezTo>
                    <a:pt x="468" y="84"/>
                    <a:pt x="468" y="84"/>
                    <a:pt x="468" y="84"/>
                  </a:cubicBezTo>
                  <a:cubicBezTo>
                    <a:pt x="433" y="58"/>
                    <a:pt x="392" y="40"/>
                    <a:pt x="348" y="32"/>
                  </a:cubicBezTo>
                  <a:cubicBezTo>
                    <a:pt x="272" y="18"/>
                    <a:pt x="196" y="35"/>
                    <a:pt x="132" y="79"/>
                  </a:cubicBezTo>
                  <a:cubicBezTo>
                    <a:pt x="69" y="123"/>
                    <a:pt x="27" y="189"/>
                    <a:pt x="13" y="265"/>
                  </a:cubicBezTo>
                  <a:cubicBezTo>
                    <a:pt x="0" y="337"/>
                    <a:pt x="15" y="410"/>
                    <a:pt x="54" y="471"/>
                  </a:cubicBezTo>
                  <a:cubicBezTo>
                    <a:pt x="55" y="470"/>
                    <a:pt x="57" y="468"/>
                    <a:pt x="58" y="466"/>
                  </a:cubicBezTo>
                  <a:cubicBezTo>
                    <a:pt x="66" y="456"/>
                    <a:pt x="77" y="448"/>
                    <a:pt x="89" y="444"/>
                  </a:cubicBezTo>
                  <a:cubicBezTo>
                    <a:pt x="57" y="392"/>
                    <a:pt x="46" y="332"/>
                    <a:pt x="57" y="273"/>
                  </a:cubicBezTo>
                  <a:close/>
                  <a:moveTo>
                    <a:pt x="550" y="177"/>
                  </a:moveTo>
                  <a:cubicBezTo>
                    <a:pt x="541" y="189"/>
                    <a:pt x="528" y="198"/>
                    <a:pt x="513" y="201"/>
                  </a:cubicBezTo>
                  <a:cubicBezTo>
                    <a:pt x="539" y="249"/>
                    <a:pt x="547" y="304"/>
                    <a:pt x="538" y="359"/>
                  </a:cubicBezTo>
                  <a:cubicBezTo>
                    <a:pt x="526" y="423"/>
                    <a:pt x="490" y="479"/>
                    <a:pt x="437" y="516"/>
                  </a:cubicBezTo>
                  <a:cubicBezTo>
                    <a:pt x="383" y="554"/>
                    <a:pt x="318" y="568"/>
                    <a:pt x="254" y="556"/>
                  </a:cubicBezTo>
                  <a:cubicBezTo>
                    <a:pt x="221" y="551"/>
                    <a:pt x="191" y="538"/>
                    <a:pt x="164" y="521"/>
                  </a:cubicBezTo>
                  <a:cubicBezTo>
                    <a:pt x="227" y="513"/>
                    <a:pt x="227" y="513"/>
                    <a:pt x="227" y="513"/>
                  </a:cubicBezTo>
                  <a:cubicBezTo>
                    <a:pt x="239" y="511"/>
                    <a:pt x="248" y="500"/>
                    <a:pt x="246" y="488"/>
                  </a:cubicBezTo>
                  <a:cubicBezTo>
                    <a:pt x="244" y="476"/>
                    <a:pt x="233" y="467"/>
                    <a:pt x="221" y="469"/>
                  </a:cubicBezTo>
                  <a:cubicBezTo>
                    <a:pt x="107" y="484"/>
                    <a:pt x="107" y="484"/>
                    <a:pt x="107" y="484"/>
                  </a:cubicBezTo>
                  <a:cubicBezTo>
                    <a:pt x="102" y="485"/>
                    <a:pt x="96" y="488"/>
                    <a:pt x="93" y="493"/>
                  </a:cubicBezTo>
                  <a:cubicBezTo>
                    <a:pt x="89" y="497"/>
                    <a:pt x="88" y="503"/>
                    <a:pt x="89" y="509"/>
                  </a:cubicBezTo>
                  <a:cubicBezTo>
                    <a:pt x="104" y="623"/>
                    <a:pt x="104" y="623"/>
                    <a:pt x="104" y="623"/>
                  </a:cubicBezTo>
                  <a:cubicBezTo>
                    <a:pt x="105" y="634"/>
                    <a:pt x="115" y="642"/>
                    <a:pt x="126" y="642"/>
                  </a:cubicBezTo>
                  <a:cubicBezTo>
                    <a:pt x="127" y="642"/>
                    <a:pt x="128" y="642"/>
                    <a:pt x="129" y="642"/>
                  </a:cubicBezTo>
                  <a:cubicBezTo>
                    <a:pt x="141" y="640"/>
                    <a:pt x="149" y="629"/>
                    <a:pt x="147" y="617"/>
                  </a:cubicBezTo>
                  <a:cubicBezTo>
                    <a:pt x="139" y="557"/>
                    <a:pt x="139" y="557"/>
                    <a:pt x="139" y="557"/>
                  </a:cubicBezTo>
                  <a:cubicBezTo>
                    <a:pt x="171" y="578"/>
                    <a:pt x="207" y="593"/>
                    <a:pt x="246" y="600"/>
                  </a:cubicBezTo>
                  <a:cubicBezTo>
                    <a:pt x="263" y="603"/>
                    <a:pt x="281" y="604"/>
                    <a:pt x="298" y="604"/>
                  </a:cubicBezTo>
                  <a:cubicBezTo>
                    <a:pt x="356" y="604"/>
                    <a:pt x="413" y="587"/>
                    <a:pt x="462" y="553"/>
                  </a:cubicBezTo>
                  <a:cubicBezTo>
                    <a:pt x="525" y="509"/>
                    <a:pt x="567" y="443"/>
                    <a:pt x="581" y="367"/>
                  </a:cubicBezTo>
                  <a:cubicBezTo>
                    <a:pt x="593" y="301"/>
                    <a:pt x="582" y="235"/>
                    <a:pt x="550"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2579183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4oId20ceYexeo7JIuBiS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N7790NGJvpUIhOHPEn6E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CroPhspKA7dNBFyMhrwx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9.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D0pe3gQypZVsq42NjiI_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PrcnMouMwZkAYVUARTXE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z2o7z_HHtrAHcwhNpTmM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Sy.c4N.J_Jo1S.x5grHM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SAH83cDQ_jeqA7ywIi44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zxf153VnRy99odf8TSe.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5dLbkq6q0bQDhlKsGV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tlywP_E2S93eFDRgECL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aGWM2kmwdWaI4wSLhdnGQ"/>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9Pu69GAE06b8dMPqcIS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nZSTxUkvn.JJ1jynXHg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UxEYhu2mzcHkNTt1WG9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6P.1O3yQF3_ia6JEfk_GE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Pcaq1iGDeBG0REk6NnZ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76Z.6HHjQmYWlSo.Yf2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iASK6K1ESWQ8855attjg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XVolFKwgWd8KWBz3lfc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5sdUCy64leScSkB0Ljf_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S3VVR9t4nuYZdFYRsBepQ"/>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I_wPN9lD_XlLGD2rvYl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i_WM34HplKtrL.Lh8D_K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ztQL4rH_0BNK_1SRrcml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DIvi5wpi7dKBWarkeA_y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xlpYLsbUcR7be7QG5wmn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WgiY7F3PG1XapMoat0hAE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3YFMNNUSMeFmn.0CzdM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u30GI4tyGekTC8kS3pdK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svLD_vFWdZpOHiOQFTB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ee02t15XiblyxWdsyLw3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DACL3ILhZkgqAkgiJhaA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3DakRWx96qiqljF6DoY1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ZO7MPJMvOG_YQy7XTX2D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3KlJ4FYD1XN89A_kwsj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IxaH7LZzVULDqbN5YWI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kN1OW6gbyngaVBSLqVd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5oV8ejIpxGORr0IRMvr_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yE8UgMho8Te42MALDoKpw"/>
</p:tagLst>
</file>

<file path=ppt/tags/tag20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DpV2HDJCqOQ1akih9BOJNA"/>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W4.pMIIW859X4V6SqtdJM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Eemmtlh6HQ_xp0k5PpNa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eJVsaC6d8_gbnWNiDQ_3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m9GplPqHAVNiUR0xipJ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0p8XzRqi_tKsgQbF2eeF2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3V.1eCbBTGtuxX6FnaCA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5SVJ.pKXswTVwaXYZg4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rxH7iVHrZ8utpLJTlVK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gXZUCmGWg9r2KYLgSLy8A"/>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JNHTex98U5Se4o5oNucz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KSqHEIf.c.74Vp7I04i_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h2RxGgqWmiETaXdq3kAmw"/>
</p:tagLst>
</file>

<file path=ppt/tags/tag223.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Hd_wuTOODLHFw3DmGZ7Vw"/>
</p:tagLst>
</file>

<file path=ppt/tags/tag226.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6Hd_wuTOODLHFw3DmGZ7Vw"/>
</p:tagLst>
</file>

<file path=ppt/tags/tag229.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cGOo9rfQkWSkiobwfF7NKw"/>
</p:tagLst>
</file>

<file path=ppt/tags/tag2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33.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Hd_wuTOODLHFw3DmGZ7V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NNEo_UCqtz939_eu_W3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NBwUly3pNuQMXQIjdkpvg"/>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UNren7SonDJ.z9Z2RsC3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UNren7SonDJ.z9Z2RsC3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UNren7SonDJ.z9Z2RsC3A"/>
</p:tagLst>
</file>

<file path=ppt/tags/tag24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BCG_MODE" val="Presentation"/>
  <p:tag name="BCG_DESIGN" val="Green half"/>
  <p:tag name="EE4P_LAYOUT_ID" val="K"/>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Ju0zKAua3rq9PkUCY3p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1</TotalTime>
  <Words>1405</Words>
  <Application>Microsoft Office PowerPoint</Application>
  <PresentationFormat>Widescreen</PresentationFormat>
  <Paragraphs>367</Paragraphs>
  <Slides>17</Slides>
  <Notes>14</Notes>
  <HiddenSlides>0</HiddenSlides>
  <MMClips>0</MMClips>
  <ScaleCrop>false</ScaleCrop>
  <HeadingPairs>
    <vt:vector size="10"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3" baseType="lpstr">
      <vt:lpstr>Arial</vt:lpstr>
      <vt:lpstr>Trebuchet MS</vt:lpstr>
      <vt:lpstr>BCG Grid 16:9</vt:lpstr>
      <vt:lpstr>1_BCG Grid 16:9</vt:lpstr>
      <vt:lpstr>think-cell Slide</vt:lpstr>
      <vt:lpstr>Gestión de la crisis del COVID-19 y claves para la recuperación en España Conversación con Directores en Chile </vt:lpstr>
      <vt:lpstr>Presentadores de hoy</vt:lpstr>
      <vt:lpstr>Tres horizontes de tiempo para manejar la crisis dentro  de nuestra empresa</vt:lpstr>
      <vt:lpstr>El COVID-19 se está convirtiendo en una importante amenaza para empleados y negocios</vt:lpstr>
      <vt:lpstr>En Chile se ha propagado rápidamente y estamos comenzando a sentir los efectos </vt:lpstr>
      <vt:lpstr>Inicio de la crisis: ¿Cuál debe ser nuestro foco? </vt:lpstr>
      <vt:lpstr>Pre recuperación: ¿Cómo estar preparados? </vt:lpstr>
      <vt:lpstr>El COVID-19 está cambiando la economía mundial - Tres escenarios</vt:lpstr>
      <vt:lpstr>Post crisis: ¿Qué cambiará cuando termine la epidemia? </vt:lpstr>
      <vt:lpstr>¿Cómo pueden prepararse las empresas para la recuperación?</vt:lpstr>
      <vt:lpstr>¿Cómo debemos enfrentar la crisis desde una mirada con foco en las personas?</vt:lpstr>
      <vt:lpstr>Siete respuestas para afrontar el COVID-19 desde la perspectiva de las personas</vt:lpstr>
      <vt:lpstr>Siete respuestas para afrontar el COVID-19 desde la perspectiva de las personas</vt:lpstr>
      <vt:lpstr>Aprovechar las respuestas frente al COVID-19 para adelantarse al potencial impacto a C/P y M/P</vt:lpstr>
      <vt:lpstr>El futuro es aún incierto: Debemos estar preparados para distintos escenarios </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terola, Fernando</dc:creator>
  <cp:lastModifiedBy>Claver, Pablo</cp:lastModifiedBy>
  <cp:revision>53</cp:revision>
  <cp:lastPrinted>2016-04-06T18:59:25Z</cp:lastPrinted>
  <dcterms:created xsi:type="dcterms:W3CDTF">2020-03-23T20:47:48Z</dcterms:created>
  <dcterms:modified xsi:type="dcterms:W3CDTF">2020-03-25T10:5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